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6"/>
  </p:notesMasterIdLst>
  <p:handoutMasterIdLst>
    <p:handoutMasterId r:id="rId17"/>
  </p:handoutMasterIdLst>
  <p:sldIdLst>
    <p:sldId id="272" r:id="rId5"/>
    <p:sldId id="779" r:id="rId6"/>
    <p:sldId id="487" r:id="rId7"/>
    <p:sldId id="2147470805" r:id="rId8"/>
    <p:sldId id="2147470799" r:id="rId9"/>
    <p:sldId id="474" r:id="rId10"/>
    <p:sldId id="2146847876" r:id="rId11"/>
    <p:sldId id="2147470812" r:id="rId12"/>
    <p:sldId id="2147470813" r:id="rId13"/>
    <p:sldId id="2147470804" r:id="rId14"/>
    <p:sldId id="2146846765" r:id="rId15"/>
  </p:sldIdLst>
  <p:sldSz cx="12195175" cy="6858000"/>
  <p:notesSz cx="6797675" cy="9928225"/>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01" userDrawn="1">
          <p15:clr>
            <a:srgbClr val="A4A3A4"/>
          </p15:clr>
        </p15:guide>
        <p15:guide id="3" pos="7447" userDrawn="1">
          <p15:clr>
            <a:srgbClr val="A4A3A4"/>
          </p15:clr>
        </p15:guide>
        <p15:guide id="7" orient="horz" pos="1049" userDrawn="1">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000000"/>
    <a:srgbClr val="FF0000"/>
    <a:srgbClr val="E3E3E3"/>
    <a:srgbClr val="0D8889"/>
    <a:srgbClr val="F6F6F6"/>
    <a:srgbClr val="A7A7A7"/>
    <a:srgbClr val="7B7B7B"/>
    <a:srgbClr val="494949"/>
    <a:srgbClr val="E6003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787371-45F9-4999-BA3C-FE90ED58C552}" v="603" dt="2023-06-15T05:32:52.648"/>
    <p1510:client id="{46FD2C16-79FF-4FFE-BCE3-742826F5B8DC}" v="2037" dt="2023-06-16T03:35:44.294"/>
  </p1510:revLst>
</p1510:revInfo>
</file>

<file path=ppt/tableStyles.xml><?xml version="1.0" encoding="utf-8"?>
<a:tblStyleLst xmlns:a="http://schemas.openxmlformats.org/drawingml/2006/main" def="{5C22544A-7EE6-4342-B048-85BDC9FD1C4A}">
  <a:tblStyle styleId="{5C22544A-7EE6-4342-B048-85BDC9FD1C4A}" styleName="Bühler">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6350" cap="flat" cmpd="sng" algn="ctr">
              <a:solidFill>
                <a:srgbClr val="A7A7A7"/>
              </a:solidFill>
            </a:ln>
          </a:insideH>
          <a:insideV>
            <a:ln w="12700" cmpd="sng">
              <a:solidFill>
                <a:schemeClr val="lt1"/>
              </a:solidFill>
            </a:ln>
          </a:insideV>
        </a:tcBdr>
      </a:tcStyle>
    </a:wholeTbl>
    <a:band1H>
      <a:tcStyle>
        <a:tcBdr/>
      </a:tcStyle>
    </a:band1H>
    <a:band2H>
      <a:tcStyle>
        <a:tcBdr/>
      </a:tcStyle>
    </a:band2H>
    <a:band1V>
      <a:tcStyle>
        <a:tcBdr/>
      </a:tcStyle>
    </a:band1V>
    <a:band2V>
      <a:tcStyle>
        <a:tcBdr/>
      </a:tcStyle>
    </a:band2V>
    <a:lastCol>
      <a:tcStyle>
        <a:tcBdr/>
      </a:tcStyle>
    </a:lastCol>
    <a:firstCol>
      <a:tcStyle>
        <a:tcBdr/>
      </a:tcStyle>
    </a:firstCol>
    <a:lastRow>
      <a:tcTxStyle>
        <a:fontRef idx="major">
          <a:prstClr val="black"/>
        </a:fontRef>
        <a:schemeClr val="bg2"/>
      </a:tcTxStyle>
      <a:tcStyle>
        <a:tcBdr>
          <a:top>
            <a:ln w="12700" cap="flat" cmpd="sng" algn="ctr">
              <a:solidFill>
                <a:schemeClr val="bg2"/>
              </a:solidFill>
            </a:ln>
          </a:top>
        </a:tcBdr>
      </a:tcStyle>
    </a:lastRow>
    <a:firstRow>
      <a:tcTxStyle>
        <a:fontRef idx="minor">
          <a:prstClr val="black"/>
        </a:fontRef>
        <a:schemeClr val="bg2"/>
      </a:tcTxStyle>
      <a:tcStyle>
        <a:tcBdr>
          <a:bottom>
            <a:ln w="12700" cap="flat" cmpd="sng" algn="ctr">
              <a:solidFill>
                <a:schemeClr val="tx2"/>
              </a:solidFill>
            </a:ln>
          </a:bottom>
        </a:tcBdr>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浅色样式 3 - 强调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5395" autoAdjust="0"/>
  </p:normalViewPr>
  <p:slideViewPr>
    <p:cSldViewPr snapToGrid="0">
      <p:cViewPr varScale="1">
        <p:scale>
          <a:sx n="73" d="100"/>
          <a:sy n="73" d="100"/>
        </p:scale>
        <p:origin x="1114" y="72"/>
      </p:cViewPr>
      <p:guideLst>
        <p:guide orient="horz" pos="4201"/>
        <p:guide pos="7447"/>
        <p:guide orient="horz" pos="1049"/>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en Lucy, GFTIOV, BCOM" userId="015eeb7a-1a87-4ec1-9e0c-2a98ac5d916e" providerId="ADAL" clId="{12787371-45F9-4999-BA3C-FE90ED58C552}"/>
    <pc:docChg chg="undo custSel addSld delSld modSld addMainMaster delMainMaster">
      <pc:chgData name="Chen Lucy, GFTIOV, BCOM" userId="015eeb7a-1a87-4ec1-9e0c-2a98ac5d916e" providerId="ADAL" clId="{12787371-45F9-4999-BA3C-FE90ED58C552}" dt="2023-06-15T05:32:52.648" v="1025" actId="20577"/>
      <pc:docMkLst>
        <pc:docMk/>
      </pc:docMkLst>
      <pc:sldChg chg="addSp delSp modSp del mod modClrScheme chgLayout">
        <pc:chgData name="Chen Lucy, GFTIOV, BCOM" userId="015eeb7a-1a87-4ec1-9e0c-2a98ac5d916e" providerId="ADAL" clId="{12787371-45F9-4999-BA3C-FE90ED58C552}" dt="2023-06-15T05:06:09.976" v="499" actId="207"/>
        <pc:sldMkLst>
          <pc:docMk/>
          <pc:sldMk cId="3406835754" sldId="310"/>
        </pc:sldMkLst>
        <pc:spChg chg="add del mod ord">
          <ac:chgData name="Chen Lucy, GFTIOV, BCOM" userId="015eeb7a-1a87-4ec1-9e0c-2a98ac5d916e" providerId="ADAL" clId="{12787371-45F9-4999-BA3C-FE90ED58C552}" dt="2023-06-15T03:28:03.524" v="150" actId="700"/>
          <ac:spMkLst>
            <pc:docMk/>
            <pc:sldMk cId="3406835754" sldId="310"/>
            <ac:spMk id="2" creationId="{72A21AB9-5076-61CD-8696-E54F513D2BB3}"/>
          </ac:spMkLst>
        </pc:spChg>
        <pc:spChg chg="add del mod">
          <ac:chgData name="Chen Lucy, GFTIOV, BCOM" userId="015eeb7a-1a87-4ec1-9e0c-2a98ac5d916e" providerId="ADAL" clId="{12787371-45F9-4999-BA3C-FE90ED58C552}" dt="2023-06-15T04:06:44.071" v="429" actId="20577"/>
          <ac:spMkLst>
            <pc:docMk/>
            <pc:sldMk cId="3406835754" sldId="310"/>
            <ac:spMk id="6" creationId="{00000000-0000-0000-0000-000000000000}"/>
          </ac:spMkLst>
        </pc:spChg>
        <pc:spChg chg="del">
          <ac:chgData name="Chen Lucy, GFTIOV, BCOM" userId="015eeb7a-1a87-4ec1-9e0c-2a98ac5d916e" providerId="ADAL" clId="{12787371-45F9-4999-BA3C-FE90ED58C552}" dt="2023-06-15T03:44:42.728" v="196" actId="478"/>
          <ac:spMkLst>
            <pc:docMk/>
            <pc:sldMk cId="3406835754" sldId="310"/>
            <ac:spMk id="7" creationId="{00000000-0000-0000-0000-000000000000}"/>
          </ac:spMkLst>
        </pc:spChg>
        <pc:spChg chg="add del mod ord">
          <ac:chgData name="Chen Lucy, GFTIOV, BCOM" userId="015eeb7a-1a87-4ec1-9e0c-2a98ac5d916e" providerId="ADAL" clId="{12787371-45F9-4999-BA3C-FE90ED58C552}" dt="2023-06-15T03:44:38.146" v="194" actId="700"/>
          <ac:spMkLst>
            <pc:docMk/>
            <pc:sldMk cId="3406835754" sldId="310"/>
            <ac:spMk id="9" creationId="{46C21133-61EC-CA07-289C-E02D2F176B82}"/>
          </ac:spMkLst>
        </pc:spChg>
        <pc:spChg chg="del">
          <ac:chgData name="Chen Lucy, GFTIOV, BCOM" userId="015eeb7a-1a87-4ec1-9e0c-2a98ac5d916e" providerId="ADAL" clId="{12787371-45F9-4999-BA3C-FE90ED58C552}" dt="2023-06-15T03:44:07.823" v="172" actId="478"/>
          <ac:spMkLst>
            <pc:docMk/>
            <pc:sldMk cId="3406835754" sldId="310"/>
            <ac:spMk id="10" creationId="{00000000-0000-0000-0000-000000000000}"/>
          </ac:spMkLst>
        </pc:spChg>
        <pc:spChg chg="add mod">
          <ac:chgData name="Chen Lucy, GFTIOV, BCOM" userId="015eeb7a-1a87-4ec1-9e0c-2a98ac5d916e" providerId="ADAL" clId="{12787371-45F9-4999-BA3C-FE90ED58C552}" dt="2023-06-15T04:09:31.207" v="473" actId="14100"/>
          <ac:spMkLst>
            <pc:docMk/>
            <pc:sldMk cId="3406835754" sldId="310"/>
            <ac:spMk id="11" creationId="{98B22471-AC82-208B-65D2-F0DA2C6C18A6}"/>
          </ac:spMkLst>
        </pc:spChg>
        <pc:spChg chg="add mod">
          <ac:chgData name="Chen Lucy, GFTIOV, BCOM" userId="015eeb7a-1a87-4ec1-9e0c-2a98ac5d916e" providerId="ADAL" clId="{12787371-45F9-4999-BA3C-FE90ED58C552}" dt="2023-06-15T04:09:35.638" v="474" actId="14100"/>
          <ac:spMkLst>
            <pc:docMk/>
            <pc:sldMk cId="3406835754" sldId="310"/>
            <ac:spMk id="12" creationId="{40B3E3FF-B3FC-7007-5778-9F64B0642F37}"/>
          </ac:spMkLst>
        </pc:spChg>
        <pc:spChg chg="add mod">
          <ac:chgData name="Chen Lucy, GFTIOV, BCOM" userId="015eeb7a-1a87-4ec1-9e0c-2a98ac5d916e" providerId="ADAL" clId="{12787371-45F9-4999-BA3C-FE90ED58C552}" dt="2023-06-15T04:09:26.416" v="472" actId="14100"/>
          <ac:spMkLst>
            <pc:docMk/>
            <pc:sldMk cId="3406835754" sldId="310"/>
            <ac:spMk id="13" creationId="{BA26BBC6-4560-C27F-59A0-07E087077D82}"/>
          </ac:spMkLst>
        </pc:spChg>
        <pc:spChg chg="add mod">
          <ac:chgData name="Chen Lucy, GFTIOV, BCOM" userId="015eeb7a-1a87-4ec1-9e0c-2a98ac5d916e" providerId="ADAL" clId="{12787371-45F9-4999-BA3C-FE90ED58C552}" dt="2023-06-15T03:52:48.011" v="297" actId="403"/>
          <ac:spMkLst>
            <pc:docMk/>
            <pc:sldMk cId="3406835754" sldId="310"/>
            <ac:spMk id="14" creationId="{70BEF524-F2C8-10C7-3585-D4AA23E96662}"/>
          </ac:spMkLst>
        </pc:spChg>
        <pc:spChg chg="mod">
          <ac:chgData name="Chen Lucy, GFTIOV, BCOM" userId="015eeb7a-1a87-4ec1-9e0c-2a98ac5d916e" providerId="ADAL" clId="{12787371-45F9-4999-BA3C-FE90ED58C552}" dt="2023-06-15T05:06:09.976" v="499" actId="207"/>
          <ac:spMkLst>
            <pc:docMk/>
            <pc:sldMk cId="3406835754" sldId="310"/>
            <ac:spMk id="15" creationId="{00000000-0000-0000-0000-000000000000}"/>
          </ac:spMkLst>
        </pc:spChg>
        <pc:spChg chg="add mod">
          <ac:chgData name="Chen Lucy, GFTIOV, BCOM" userId="015eeb7a-1a87-4ec1-9e0c-2a98ac5d916e" providerId="ADAL" clId="{12787371-45F9-4999-BA3C-FE90ED58C552}" dt="2023-06-15T03:52:53.077" v="299" actId="403"/>
          <ac:spMkLst>
            <pc:docMk/>
            <pc:sldMk cId="3406835754" sldId="310"/>
            <ac:spMk id="16" creationId="{9EB06B54-C63D-CDA0-37A8-171BB3EB4CC2}"/>
          </ac:spMkLst>
        </pc:spChg>
        <pc:spChg chg="add mod">
          <ac:chgData name="Chen Lucy, GFTIOV, BCOM" userId="015eeb7a-1a87-4ec1-9e0c-2a98ac5d916e" providerId="ADAL" clId="{12787371-45F9-4999-BA3C-FE90ED58C552}" dt="2023-06-15T03:52:50.722" v="298" actId="403"/>
          <ac:spMkLst>
            <pc:docMk/>
            <pc:sldMk cId="3406835754" sldId="310"/>
            <ac:spMk id="17" creationId="{F63118EF-1BD2-3DD0-F3BC-8D749503192C}"/>
          </ac:spMkLst>
        </pc:spChg>
        <pc:spChg chg="add mod">
          <ac:chgData name="Chen Lucy, GFTIOV, BCOM" userId="015eeb7a-1a87-4ec1-9e0c-2a98ac5d916e" providerId="ADAL" clId="{12787371-45F9-4999-BA3C-FE90ED58C552}" dt="2023-06-15T04:13:58.101" v="476" actId="14100"/>
          <ac:spMkLst>
            <pc:docMk/>
            <pc:sldMk cId="3406835754" sldId="310"/>
            <ac:spMk id="18" creationId="{DF6B4F1D-F8C7-B21A-811D-6098C2D00D4A}"/>
          </ac:spMkLst>
        </pc:spChg>
        <pc:spChg chg="mod ord">
          <ac:chgData name="Chen Lucy, GFTIOV, BCOM" userId="015eeb7a-1a87-4ec1-9e0c-2a98ac5d916e" providerId="ADAL" clId="{12787371-45F9-4999-BA3C-FE90ED58C552}" dt="2023-06-15T03:44:38.146" v="194" actId="700"/>
          <ac:spMkLst>
            <pc:docMk/>
            <pc:sldMk cId="3406835754" sldId="310"/>
            <ac:spMk id="19" creationId="{00000000-0000-0000-0000-000000000000}"/>
          </ac:spMkLst>
        </pc:spChg>
        <pc:spChg chg="del">
          <ac:chgData name="Chen Lucy, GFTIOV, BCOM" userId="015eeb7a-1a87-4ec1-9e0c-2a98ac5d916e" providerId="ADAL" clId="{12787371-45F9-4999-BA3C-FE90ED58C552}" dt="2023-06-15T03:41:36.863" v="167" actId="478"/>
          <ac:spMkLst>
            <pc:docMk/>
            <pc:sldMk cId="3406835754" sldId="310"/>
            <ac:spMk id="20" creationId="{00000000-0000-0000-0000-000000000000}"/>
          </ac:spMkLst>
        </pc:spChg>
        <pc:spChg chg="add mod">
          <ac:chgData name="Chen Lucy, GFTIOV, BCOM" userId="015eeb7a-1a87-4ec1-9e0c-2a98ac5d916e" providerId="ADAL" clId="{12787371-45F9-4999-BA3C-FE90ED58C552}" dt="2023-06-15T05:03:28.574" v="484" actId="1076"/>
          <ac:spMkLst>
            <pc:docMk/>
            <pc:sldMk cId="3406835754" sldId="310"/>
            <ac:spMk id="21" creationId="{22674025-384C-8A79-2ED7-BFF671FF03CE}"/>
          </ac:spMkLst>
        </pc:spChg>
        <pc:spChg chg="mod">
          <ac:chgData name="Chen Lucy, GFTIOV, BCOM" userId="015eeb7a-1a87-4ec1-9e0c-2a98ac5d916e" providerId="ADAL" clId="{12787371-45F9-4999-BA3C-FE90ED58C552}" dt="2023-06-15T03:47:56.811" v="245" actId="207"/>
          <ac:spMkLst>
            <pc:docMk/>
            <pc:sldMk cId="3406835754" sldId="310"/>
            <ac:spMk id="25" creationId="{00000000-0000-0000-0000-000000000000}"/>
          </ac:spMkLst>
        </pc:spChg>
        <pc:spChg chg="mod">
          <ac:chgData name="Chen Lucy, GFTIOV, BCOM" userId="015eeb7a-1a87-4ec1-9e0c-2a98ac5d916e" providerId="ADAL" clId="{12787371-45F9-4999-BA3C-FE90ED58C552}" dt="2023-06-15T03:47:56.811" v="245" actId="207"/>
          <ac:spMkLst>
            <pc:docMk/>
            <pc:sldMk cId="3406835754" sldId="310"/>
            <ac:spMk id="26" creationId="{00000000-0000-0000-0000-000000000000}"/>
          </ac:spMkLst>
        </pc:spChg>
        <pc:spChg chg="del">
          <ac:chgData name="Chen Lucy, GFTIOV, BCOM" userId="015eeb7a-1a87-4ec1-9e0c-2a98ac5d916e" providerId="ADAL" clId="{12787371-45F9-4999-BA3C-FE90ED58C552}" dt="2023-06-15T03:44:27.708" v="192" actId="478"/>
          <ac:spMkLst>
            <pc:docMk/>
            <pc:sldMk cId="3406835754" sldId="310"/>
            <ac:spMk id="30" creationId="{00000000-0000-0000-0000-000000000000}"/>
          </ac:spMkLst>
        </pc:spChg>
        <pc:spChg chg="del">
          <ac:chgData name="Chen Lucy, GFTIOV, BCOM" userId="015eeb7a-1a87-4ec1-9e0c-2a98ac5d916e" providerId="ADAL" clId="{12787371-45F9-4999-BA3C-FE90ED58C552}" dt="2023-06-15T03:49:35.025" v="266" actId="478"/>
          <ac:spMkLst>
            <pc:docMk/>
            <pc:sldMk cId="3406835754" sldId="310"/>
            <ac:spMk id="31" creationId="{00000000-0000-0000-0000-000000000000}"/>
          </ac:spMkLst>
        </pc:spChg>
        <pc:spChg chg="del">
          <ac:chgData name="Chen Lucy, GFTIOV, BCOM" userId="015eeb7a-1a87-4ec1-9e0c-2a98ac5d916e" providerId="ADAL" clId="{12787371-45F9-4999-BA3C-FE90ED58C552}" dt="2023-06-15T03:49:48.172" v="268" actId="478"/>
          <ac:spMkLst>
            <pc:docMk/>
            <pc:sldMk cId="3406835754" sldId="310"/>
            <ac:spMk id="32" creationId="{00000000-0000-0000-0000-000000000000}"/>
          </ac:spMkLst>
        </pc:spChg>
        <pc:grpChg chg="del">
          <ac:chgData name="Chen Lucy, GFTIOV, BCOM" userId="015eeb7a-1a87-4ec1-9e0c-2a98ac5d916e" providerId="ADAL" clId="{12787371-45F9-4999-BA3C-FE90ED58C552}" dt="2023-06-15T03:48:17.940" v="247" actId="478"/>
          <ac:grpSpMkLst>
            <pc:docMk/>
            <pc:sldMk cId="3406835754" sldId="310"/>
            <ac:grpSpMk id="5" creationId="{00000000-0000-0000-0000-000000000000}"/>
          </ac:grpSpMkLst>
        </pc:grpChg>
        <pc:grpChg chg="del mod">
          <ac:chgData name="Chen Lucy, GFTIOV, BCOM" userId="015eeb7a-1a87-4ec1-9e0c-2a98ac5d916e" providerId="ADAL" clId="{12787371-45F9-4999-BA3C-FE90ED58C552}" dt="2023-06-15T03:48:17.940" v="247" actId="478"/>
          <ac:grpSpMkLst>
            <pc:docMk/>
            <pc:sldMk cId="3406835754" sldId="310"/>
            <ac:grpSpMk id="24" creationId="{00000000-0000-0000-0000-000000000000}"/>
          </ac:grpSpMkLst>
        </pc:grpChg>
        <pc:grpChg chg="del">
          <ac:chgData name="Chen Lucy, GFTIOV, BCOM" userId="015eeb7a-1a87-4ec1-9e0c-2a98ac5d916e" providerId="ADAL" clId="{12787371-45F9-4999-BA3C-FE90ED58C552}" dt="2023-06-15T03:48:17.940" v="247" actId="478"/>
          <ac:grpSpMkLst>
            <pc:docMk/>
            <pc:sldMk cId="3406835754" sldId="310"/>
            <ac:grpSpMk id="27" creationId="{00000000-0000-0000-0000-000000000000}"/>
          </ac:grpSpMkLst>
        </pc:grpChg>
        <pc:picChg chg="add mod ord">
          <ac:chgData name="Chen Lucy, GFTIOV, BCOM" userId="015eeb7a-1a87-4ec1-9e0c-2a98ac5d916e" providerId="ADAL" clId="{12787371-45F9-4999-BA3C-FE90ED58C552}" dt="2023-06-15T05:05:50.400" v="498" actId="14100"/>
          <ac:picMkLst>
            <pc:docMk/>
            <pc:sldMk cId="3406835754" sldId="310"/>
            <ac:picMk id="4" creationId="{771A1ED8-7A7F-272D-49E0-1AF80202A907}"/>
          </ac:picMkLst>
        </pc:picChg>
      </pc:sldChg>
      <pc:sldChg chg="addSp delSp modSp add del mod modClrScheme chgLayout">
        <pc:chgData name="Chen Lucy, GFTIOV, BCOM" userId="015eeb7a-1a87-4ec1-9e0c-2a98ac5d916e" providerId="ADAL" clId="{12787371-45F9-4999-BA3C-FE90ED58C552}" dt="2023-06-15T03:59:00.307" v="375" actId="47"/>
        <pc:sldMkLst>
          <pc:docMk/>
          <pc:sldMk cId="4210942265" sldId="471"/>
        </pc:sldMkLst>
        <pc:spChg chg="del">
          <ac:chgData name="Chen Lucy, GFTIOV, BCOM" userId="015eeb7a-1a87-4ec1-9e0c-2a98ac5d916e" providerId="ADAL" clId="{12787371-45F9-4999-BA3C-FE90ED58C552}" dt="2023-06-15T03:55:11.150" v="302" actId="478"/>
          <ac:spMkLst>
            <pc:docMk/>
            <pc:sldMk cId="4210942265" sldId="471"/>
            <ac:spMk id="2" creationId="{E7F7CE69-0863-46E7-3C8B-35142B329FAE}"/>
          </ac:spMkLst>
        </pc:spChg>
        <pc:spChg chg="mod ord">
          <ac:chgData name="Chen Lucy, GFTIOV, BCOM" userId="015eeb7a-1a87-4ec1-9e0c-2a98ac5d916e" providerId="ADAL" clId="{12787371-45F9-4999-BA3C-FE90ED58C552}" dt="2023-06-15T03:56:50.718" v="321" actId="700"/>
          <ac:spMkLst>
            <pc:docMk/>
            <pc:sldMk cId="4210942265" sldId="471"/>
            <ac:spMk id="3" creationId="{00000000-0000-0000-0000-000000000000}"/>
          </ac:spMkLst>
        </pc:spChg>
        <pc:spChg chg="add del mod">
          <ac:chgData name="Chen Lucy, GFTIOV, BCOM" userId="015eeb7a-1a87-4ec1-9e0c-2a98ac5d916e" providerId="ADAL" clId="{12787371-45F9-4999-BA3C-FE90ED58C552}" dt="2023-06-15T03:55:31.869" v="306"/>
          <ac:spMkLst>
            <pc:docMk/>
            <pc:sldMk cId="4210942265" sldId="471"/>
            <ac:spMk id="5" creationId="{9EDC24D7-3194-6178-21A3-12614C4A1D27}"/>
          </ac:spMkLst>
        </pc:spChg>
        <pc:spChg chg="add mod ord">
          <ac:chgData name="Chen Lucy, GFTIOV, BCOM" userId="015eeb7a-1a87-4ec1-9e0c-2a98ac5d916e" providerId="ADAL" clId="{12787371-45F9-4999-BA3C-FE90ED58C552}" dt="2023-06-15T03:56:50.718" v="321" actId="700"/>
          <ac:spMkLst>
            <pc:docMk/>
            <pc:sldMk cId="4210942265" sldId="471"/>
            <ac:spMk id="6" creationId="{1FF3CC93-A50E-319A-1D4C-7A30DB619C11}"/>
          </ac:spMkLst>
        </pc:spChg>
        <pc:spChg chg="add mod">
          <ac:chgData name="Chen Lucy, GFTIOV, BCOM" userId="015eeb7a-1a87-4ec1-9e0c-2a98ac5d916e" providerId="ADAL" clId="{12787371-45F9-4999-BA3C-FE90ED58C552}" dt="2023-06-15T03:56:25.154" v="316" actId="1076"/>
          <ac:spMkLst>
            <pc:docMk/>
            <pc:sldMk cId="4210942265" sldId="471"/>
            <ac:spMk id="8" creationId="{7E349302-E8DD-271D-87B4-7330E2ACB478}"/>
          </ac:spMkLst>
        </pc:spChg>
        <pc:spChg chg="add mod">
          <ac:chgData name="Chen Lucy, GFTIOV, BCOM" userId="015eeb7a-1a87-4ec1-9e0c-2a98ac5d916e" providerId="ADAL" clId="{12787371-45F9-4999-BA3C-FE90ED58C552}" dt="2023-06-15T03:56:25.154" v="316" actId="1076"/>
          <ac:spMkLst>
            <pc:docMk/>
            <pc:sldMk cId="4210942265" sldId="471"/>
            <ac:spMk id="11" creationId="{B4BEB0EA-A49D-D02D-8974-8261064652E5}"/>
          </ac:spMkLst>
        </pc:spChg>
        <pc:spChg chg="add mod">
          <ac:chgData name="Chen Lucy, GFTIOV, BCOM" userId="015eeb7a-1a87-4ec1-9e0c-2a98ac5d916e" providerId="ADAL" clId="{12787371-45F9-4999-BA3C-FE90ED58C552}" dt="2023-06-15T03:56:29.170" v="317" actId="1076"/>
          <ac:spMkLst>
            <pc:docMk/>
            <pc:sldMk cId="4210942265" sldId="471"/>
            <ac:spMk id="12" creationId="{96F5D0BB-9E95-7770-6DB7-2F84B74B5B69}"/>
          </ac:spMkLst>
        </pc:spChg>
        <pc:spChg chg="mod">
          <ac:chgData name="Chen Lucy, GFTIOV, BCOM" userId="015eeb7a-1a87-4ec1-9e0c-2a98ac5d916e" providerId="ADAL" clId="{12787371-45F9-4999-BA3C-FE90ED58C552}" dt="2023-06-15T03:56:16.288" v="314" actId="1076"/>
          <ac:spMkLst>
            <pc:docMk/>
            <pc:sldMk cId="4210942265" sldId="471"/>
            <ac:spMk id="16" creationId="{00000000-0000-0000-0000-000000000000}"/>
          </ac:spMkLst>
        </pc:spChg>
        <pc:spChg chg="mod">
          <ac:chgData name="Chen Lucy, GFTIOV, BCOM" userId="015eeb7a-1a87-4ec1-9e0c-2a98ac5d916e" providerId="ADAL" clId="{12787371-45F9-4999-BA3C-FE90ED58C552}" dt="2023-06-15T03:56:16.288" v="314" actId="1076"/>
          <ac:spMkLst>
            <pc:docMk/>
            <pc:sldMk cId="4210942265" sldId="471"/>
            <ac:spMk id="17" creationId="{00000000-0000-0000-0000-000000000000}"/>
          </ac:spMkLst>
        </pc:spChg>
        <pc:spChg chg="mod">
          <ac:chgData name="Chen Lucy, GFTIOV, BCOM" userId="015eeb7a-1a87-4ec1-9e0c-2a98ac5d916e" providerId="ADAL" clId="{12787371-45F9-4999-BA3C-FE90ED58C552}" dt="2023-06-15T03:56:16.288" v="314" actId="1076"/>
          <ac:spMkLst>
            <pc:docMk/>
            <pc:sldMk cId="4210942265" sldId="471"/>
            <ac:spMk id="18" creationId="{00000000-0000-0000-0000-000000000000}"/>
          </ac:spMkLst>
        </pc:spChg>
        <pc:spChg chg="mod">
          <ac:chgData name="Chen Lucy, GFTIOV, BCOM" userId="015eeb7a-1a87-4ec1-9e0c-2a98ac5d916e" providerId="ADAL" clId="{12787371-45F9-4999-BA3C-FE90ED58C552}" dt="2023-06-15T03:56:16.288" v="314" actId="1076"/>
          <ac:spMkLst>
            <pc:docMk/>
            <pc:sldMk cId="4210942265" sldId="471"/>
            <ac:spMk id="19" creationId="{00000000-0000-0000-0000-000000000000}"/>
          </ac:spMkLst>
        </pc:spChg>
        <pc:spChg chg="mod">
          <ac:chgData name="Chen Lucy, GFTIOV, BCOM" userId="015eeb7a-1a87-4ec1-9e0c-2a98ac5d916e" providerId="ADAL" clId="{12787371-45F9-4999-BA3C-FE90ED58C552}" dt="2023-06-15T03:56:16.288" v="314" actId="1076"/>
          <ac:spMkLst>
            <pc:docMk/>
            <pc:sldMk cId="4210942265" sldId="471"/>
            <ac:spMk id="20" creationId="{00000000-0000-0000-0000-000000000000}"/>
          </ac:spMkLst>
        </pc:spChg>
        <pc:spChg chg="mod">
          <ac:chgData name="Chen Lucy, GFTIOV, BCOM" userId="015eeb7a-1a87-4ec1-9e0c-2a98ac5d916e" providerId="ADAL" clId="{12787371-45F9-4999-BA3C-FE90ED58C552}" dt="2023-06-15T03:56:16.288" v="314" actId="1076"/>
          <ac:spMkLst>
            <pc:docMk/>
            <pc:sldMk cId="4210942265" sldId="471"/>
            <ac:spMk id="21" creationId="{00000000-0000-0000-0000-000000000000}"/>
          </ac:spMkLst>
        </pc:spChg>
        <pc:picChg chg="mod ord">
          <ac:chgData name="Chen Lucy, GFTIOV, BCOM" userId="015eeb7a-1a87-4ec1-9e0c-2a98ac5d916e" providerId="ADAL" clId="{12787371-45F9-4999-BA3C-FE90ED58C552}" dt="2023-06-15T03:56:50.718" v="321" actId="700"/>
          <ac:picMkLst>
            <pc:docMk/>
            <pc:sldMk cId="4210942265" sldId="471"/>
            <ac:picMk id="7" creationId="{00000000-0000-0000-0000-000000000000}"/>
          </ac:picMkLst>
        </pc:picChg>
        <pc:picChg chg="mod">
          <ac:chgData name="Chen Lucy, GFTIOV, BCOM" userId="015eeb7a-1a87-4ec1-9e0c-2a98ac5d916e" providerId="ADAL" clId="{12787371-45F9-4999-BA3C-FE90ED58C552}" dt="2023-06-15T03:56:01.999" v="311" actId="14100"/>
          <ac:picMkLst>
            <pc:docMk/>
            <pc:sldMk cId="4210942265" sldId="471"/>
            <ac:picMk id="9" creationId="{00000000-0000-0000-0000-000000000000}"/>
          </ac:picMkLst>
        </pc:picChg>
        <pc:picChg chg="mod">
          <ac:chgData name="Chen Lucy, GFTIOV, BCOM" userId="015eeb7a-1a87-4ec1-9e0c-2a98ac5d916e" providerId="ADAL" clId="{12787371-45F9-4999-BA3C-FE90ED58C552}" dt="2023-06-15T03:55:56.441" v="309" actId="14100"/>
          <ac:picMkLst>
            <pc:docMk/>
            <pc:sldMk cId="4210942265" sldId="471"/>
            <ac:picMk id="31748" creationId="{00000000-0000-0000-0000-000000000000}"/>
          </ac:picMkLst>
        </pc:picChg>
      </pc:sldChg>
      <pc:sldChg chg="modSp mod modNotesTx">
        <pc:chgData name="Chen Lucy, GFTIOV, BCOM" userId="015eeb7a-1a87-4ec1-9e0c-2a98ac5d916e" providerId="ADAL" clId="{12787371-45F9-4999-BA3C-FE90ED58C552}" dt="2023-06-15T05:32:52.648" v="1025" actId="20577"/>
        <pc:sldMkLst>
          <pc:docMk/>
          <pc:sldMk cId="0" sldId="16140986"/>
        </pc:sldMkLst>
        <pc:graphicFrameChg chg="mod modGraphic">
          <ac:chgData name="Chen Lucy, GFTIOV, BCOM" userId="015eeb7a-1a87-4ec1-9e0c-2a98ac5d916e" providerId="ADAL" clId="{12787371-45F9-4999-BA3C-FE90ED58C552}" dt="2023-06-15T05:32:52.648" v="1025" actId="20577"/>
          <ac:graphicFrameMkLst>
            <pc:docMk/>
            <pc:sldMk cId="0" sldId="16140986"/>
            <ac:graphicFrameMk id="3" creationId="{39F011C3-7F33-3086-8C8F-0852F12F2D8E}"/>
          </ac:graphicFrameMkLst>
        </pc:graphicFrameChg>
      </pc:sldChg>
      <pc:sldChg chg="modSp del">
        <pc:chgData name="Chen Lucy, GFTIOV, BCOM" userId="015eeb7a-1a87-4ec1-9e0c-2a98ac5d916e" providerId="ADAL" clId="{12787371-45F9-4999-BA3C-FE90ED58C552}" dt="2023-06-15T03:21:47.071" v="95" actId="47"/>
        <pc:sldMkLst>
          <pc:docMk/>
          <pc:sldMk cId="346912377" sldId="2146847599"/>
        </pc:sldMkLst>
        <pc:picChg chg="mod">
          <ac:chgData name="Chen Lucy, GFTIOV, BCOM" userId="015eeb7a-1a87-4ec1-9e0c-2a98ac5d916e" providerId="ADAL" clId="{12787371-45F9-4999-BA3C-FE90ED58C552}" dt="2023-06-15T03:15:11.347" v="3" actId="1076"/>
          <ac:picMkLst>
            <pc:docMk/>
            <pc:sldMk cId="346912377" sldId="2146847599"/>
            <ac:picMk id="16" creationId="{98A6DBBA-B162-4C8D-B41C-11D53A274236}"/>
          </ac:picMkLst>
        </pc:picChg>
      </pc:sldChg>
      <pc:sldChg chg="delSp add del mod">
        <pc:chgData name="Chen Lucy, GFTIOV, BCOM" userId="015eeb7a-1a87-4ec1-9e0c-2a98ac5d916e" providerId="ADAL" clId="{12787371-45F9-4999-BA3C-FE90ED58C552}" dt="2023-06-15T03:21:48.957" v="96" actId="47"/>
        <pc:sldMkLst>
          <pc:docMk/>
          <pc:sldMk cId="3059743517" sldId="2147470806"/>
        </pc:sldMkLst>
        <pc:graphicFrameChg chg="del">
          <ac:chgData name="Chen Lucy, GFTIOV, BCOM" userId="015eeb7a-1a87-4ec1-9e0c-2a98ac5d916e" providerId="ADAL" clId="{12787371-45F9-4999-BA3C-FE90ED58C552}" dt="2023-06-15T03:14:48.679" v="1" actId="478"/>
          <ac:graphicFrameMkLst>
            <pc:docMk/>
            <pc:sldMk cId="3059743517" sldId="2147470806"/>
            <ac:graphicFrameMk id="3" creationId="{39F011C3-7F33-3086-8C8F-0852F12F2D8E}"/>
          </ac:graphicFrameMkLst>
        </pc:graphicFrameChg>
      </pc:sldChg>
      <pc:sldChg chg="addSp delSp modSp add del mod">
        <pc:chgData name="Chen Lucy, GFTIOV, BCOM" userId="015eeb7a-1a87-4ec1-9e0c-2a98ac5d916e" providerId="ADAL" clId="{12787371-45F9-4999-BA3C-FE90ED58C552}" dt="2023-06-15T05:04:14.320" v="489" actId="47"/>
        <pc:sldMkLst>
          <pc:docMk/>
          <pc:sldMk cId="2971164396" sldId="2147470807"/>
        </pc:sldMkLst>
        <pc:spChg chg="add mod">
          <ac:chgData name="Chen Lucy, GFTIOV, BCOM" userId="015eeb7a-1a87-4ec1-9e0c-2a98ac5d916e" providerId="ADAL" clId="{12787371-45F9-4999-BA3C-FE90ED58C552}" dt="2023-06-15T03:23:03.091" v="99" actId="1076"/>
          <ac:spMkLst>
            <pc:docMk/>
            <pc:sldMk cId="2971164396" sldId="2147470807"/>
            <ac:spMk id="2" creationId="{63ABBA7B-DC3A-ABAC-920D-A5428477C804}"/>
          </ac:spMkLst>
        </pc:spChg>
        <pc:spChg chg="add mod ord">
          <ac:chgData name="Chen Lucy, GFTIOV, BCOM" userId="015eeb7a-1a87-4ec1-9e0c-2a98ac5d916e" providerId="ADAL" clId="{12787371-45F9-4999-BA3C-FE90ED58C552}" dt="2023-06-15T03:21:38.232" v="94" actId="1076"/>
          <ac:spMkLst>
            <pc:docMk/>
            <pc:sldMk cId="2971164396" sldId="2147470807"/>
            <ac:spMk id="4" creationId="{D765DF42-EA4C-2344-25CC-8BFBD5936832}"/>
          </ac:spMkLst>
        </pc:spChg>
        <pc:spChg chg="del">
          <ac:chgData name="Chen Lucy, GFTIOV, BCOM" userId="015eeb7a-1a87-4ec1-9e0c-2a98ac5d916e" providerId="ADAL" clId="{12787371-45F9-4999-BA3C-FE90ED58C552}" dt="2023-06-15T03:19:04.652" v="74" actId="478"/>
          <ac:spMkLst>
            <pc:docMk/>
            <pc:sldMk cId="2971164396" sldId="2147470807"/>
            <ac:spMk id="5" creationId="{156FE806-85BE-4A2A-9D2A-7B6BE2A66AE1}"/>
          </ac:spMkLst>
        </pc:spChg>
        <pc:spChg chg="add mod">
          <ac:chgData name="Chen Lucy, GFTIOV, BCOM" userId="015eeb7a-1a87-4ec1-9e0c-2a98ac5d916e" providerId="ADAL" clId="{12787371-45F9-4999-BA3C-FE90ED58C552}" dt="2023-06-15T03:24:17.898" v="144" actId="1076"/>
          <ac:spMkLst>
            <pc:docMk/>
            <pc:sldMk cId="2971164396" sldId="2147470807"/>
            <ac:spMk id="7" creationId="{AD32BD18-E154-7BCF-47CF-3B92A088A0C4}"/>
          </ac:spMkLst>
        </pc:spChg>
        <pc:spChg chg="add mod">
          <ac:chgData name="Chen Lucy, GFTIOV, BCOM" userId="015eeb7a-1a87-4ec1-9e0c-2a98ac5d916e" providerId="ADAL" clId="{12787371-45F9-4999-BA3C-FE90ED58C552}" dt="2023-06-15T03:23:47.457" v="125" actId="1076"/>
          <ac:spMkLst>
            <pc:docMk/>
            <pc:sldMk cId="2971164396" sldId="2147470807"/>
            <ac:spMk id="8" creationId="{DE5A9CBB-2845-5E63-D0CF-6A25E0CE01E6}"/>
          </ac:spMkLst>
        </pc:spChg>
        <pc:spChg chg="add del mod">
          <ac:chgData name="Chen Lucy, GFTIOV, BCOM" userId="015eeb7a-1a87-4ec1-9e0c-2a98ac5d916e" providerId="ADAL" clId="{12787371-45F9-4999-BA3C-FE90ED58C552}" dt="2023-06-15T03:16:42.194" v="23" actId="478"/>
          <ac:spMkLst>
            <pc:docMk/>
            <pc:sldMk cId="2971164396" sldId="2147470807"/>
            <ac:spMk id="9" creationId="{0E1E9E94-C09F-8A49-1BE1-E945EB547531}"/>
          </ac:spMkLst>
        </pc:spChg>
        <pc:spChg chg="add mod">
          <ac:chgData name="Chen Lucy, GFTIOV, BCOM" userId="015eeb7a-1a87-4ec1-9e0c-2a98ac5d916e" providerId="ADAL" clId="{12787371-45F9-4999-BA3C-FE90ED58C552}" dt="2023-06-15T03:24:27.520" v="145" actId="1076"/>
          <ac:spMkLst>
            <pc:docMk/>
            <pc:sldMk cId="2971164396" sldId="2147470807"/>
            <ac:spMk id="10" creationId="{5D1BDFB8-8ABB-AC35-3864-CA9776CD501C}"/>
          </ac:spMkLst>
        </pc:spChg>
        <pc:spChg chg="add mod">
          <ac:chgData name="Chen Lucy, GFTIOV, BCOM" userId="015eeb7a-1a87-4ec1-9e0c-2a98ac5d916e" providerId="ADAL" clId="{12787371-45F9-4999-BA3C-FE90ED58C552}" dt="2023-06-15T03:24:05.935" v="137" actId="1076"/>
          <ac:spMkLst>
            <pc:docMk/>
            <pc:sldMk cId="2971164396" sldId="2147470807"/>
            <ac:spMk id="11" creationId="{1A7D51B0-A8CF-ED83-FC88-016B2664A2E8}"/>
          </ac:spMkLst>
        </pc:spChg>
        <pc:spChg chg="add del mod">
          <ac:chgData name="Chen Lucy, GFTIOV, BCOM" userId="015eeb7a-1a87-4ec1-9e0c-2a98ac5d916e" providerId="ADAL" clId="{12787371-45F9-4999-BA3C-FE90ED58C552}" dt="2023-06-15T03:23:44.495" v="124" actId="478"/>
          <ac:spMkLst>
            <pc:docMk/>
            <pc:sldMk cId="2971164396" sldId="2147470807"/>
            <ac:spMk id="13" creationId="{4A77B673-BDB5-5C4A-54F0-44B3F65C3BD8}"/>
          </ac:spMkLst>
        </pc:spChg>
        <pc:spChg chg="del">
          <ac:chgData name="Chen Lucy, GFTIOV, BCOM" userId="015eeb7a-1a87-4ec1-9e0c-2a98ac5d916e" providerId="ADAL" clId="{12787371-45F9-4999-BA3C-FE90ED58C552}" dt="2023-06-15T03:16:37.237" v="20" actId="478"/>
          <ac:spMkLst>
            <pc:docMk/>
            <pc:sldMk cId="2971164396" sldId="2147470807"/>
            <ac:spMk id="15" creationId="{EAACFC8A-2731-446F-BD43-0A86F58A6604}"/>
          </ac:spMkLst>
        </pc:spChg>
        <pc:spChg chg="del">
          <ac:chgData name="Chen Lucy, GFTIOV, BCOM" userId="015eeb7a-1a87-4ec1-9e0c-2a98ac5d916e" providerId="ADAL" clId="{12787371-45F9-4999-BA3C-FE90ED58C552}" dt="2023-06-15T03:19:50.986" v="79" actId="478"/>
          <ac:spMkLst>
            <pc:docMk/>
            <pc:sldMk cId="2971164396" sldId="2147470807"/>
            <ac:spMk id="21" creationId="{54D8F60E-7EB7-49E7-955E-106CD47C0341}"/>
          </ac:spMkLst>
        </pc:spChg>
        <pc:spChg chg="mod">
          <ac:chgData name="Chen Lucy, GFTIOV, BCOM" userId="015eeb7a-1a87-4ec1-9e0c-2a98ac5d916e" providerId="ADAL" clId="{12787371-45F9-4999-BA3C-FE90ED58C552}" dt="2023-06-15T03:19:22.147" v="76"/>
          <ac:spMkLst>
            <pc:docMk/>
            <pc:sldMk cId="2971164396" sldId="2147470807"/>
            <ac:spMk id="22" creationId="{0BE35A84-9B44-4124-A3CB-7674FFB93C67}"/>
          </ac:spMkLst>
        </pc:spChg>
        <pc:spChg chg="mod">
          <ac:chgData name="Chen Lucy, GFTIOV, BCOM" userId="015eeb7a-1a87-4ec1-9e0c-2a98ac5d916e" providerId="ADAL" clId="{12787371-45F9-4999-BA3C-FE90ED58C552}" dt="2023-06-15T03:52:24.869" v="290" actId="6549"/>
          <ac:spMkLst>
            <pc:docMk/>
            <pc:sldMk cId="2971164396" sldId="2147470807"/>
            <ac:spMk id="26" creationId="{BA280F8B-A478-4C84-BE66-8715C8479127}"/>
          </ac:spMkLst>
        </pc:spChg>
        <pc:spChg chg="del">
          <ac:chgData name="Chen Lucy, GFTIOV, BCOM" userId="015eeb7a-1a87-4ec1-9e0c-2a98ac5d916e" providerId="ADAL" clId="{12787371-45F9-4999-BA3C-FE90ED58C552}" dt="2023-06-15T03:19:48.897" v="78" actId="478"/>
          <ac:spMkLst>
            <pc:docMk/>
            <pc:sldMk cId="2971164396" sldId="2147470807"/>
            <ac:spMk id="28" creationId="{E33CE18F-E91E-4F61-B576-D9D4EC86A3A5}"/>
          </ac:spMkLst>
        </pc:spChg>
        <pc:spChg chg="mod">
          <ac:chgData name="Chen Lucy, GFTIOV, BCOM" userId="015eeb7a-1a87-4ec1-9e0c-2a98ac5d916e" providerId="ADAL" clId="{12787371-45F9-4999-BA3C-FE90ED58C552}" dt="2023-06-15T03:24:39.473" v="147" actId="1076"/>
          <ac:spMkLst>
            <pc:docMk/>
            <pc:sldMk cId="2971164396" sldId="2147470807"/>
            <ac:spMk id="29" creationId="{65444935-A03B-496E-A8F6-4566E3FB7C18}"/>
          </ac:spMkLst>
        </pc:spChg>
        <pc:spChg chg="mod">
          <ac:chgData name="Chen Lucy, GFTIOV, BCOM" userId="015eeb7a-1a87-4ec1-9e0c-2a98ac5d916e" providerId="ADAL" clId="{12787371-45F9-4999-BA3C-FE90ED58C552}" dt="2023-06-15T03:52:33.170" v="295" actId="6549"/>
          <ac:spMkLst>
            <pc:docMk/>
            <pc:sldMk cId="2971164396" sldId="2147470807"/>
            <ac:spMk id="31" creationId="{3314F11D-995B-4824-AA7A-9B659FDA3E58}"/>
          </ac:spMkLst>
        </pc:spChg>
        <pc:spChg chg="del">
          <ac:chgData name="Chen Lucy, GFTIOV, BCOM" userId="015eeb7a-1a87-4ec1-9e0c-2a98ac5d916e" providerId="ADAL" clId="{12787371-45F9-4999-BA3C-FE90ED58C552}" dt="2023-06-15T03:16:35.311" v="18" actId="478"/>
          <ac:spMkLst>
            <pc:docMk/>
            <pc:sldMk cId="2971164396" sldId="2147470807"/>
            <ac:spMk id="37" creationId="{81C8875D-1FF3-42FF-8EED-0DEC2B07948C}"/>
          </ac:spMkLst>
        </pc:spChg>
        <pc:spChg chg="del">
          <ac:chgData name="Chen Lucy, GFTIOV, BCOM" userId="015eeb7a-1a87-4ec1-9e0c-2a98ac5d916e" providerId="ADAL" clId="{12787371-45F9-4999-BA3C-FE90ED58C552}" dt="2023-06-15T03:16:36.137" v="19" actId="478"/>
          <ac:spMkLst>
            <pc:docMk/>
            <pc:sldMk cId="2971164396" sldId="2147470807"/>
            <ac:spMk id="45" creationId="{0502377C-9DB9-4AC0-A1C5-E464ED568F87}"/>
          </ac:spMkLst>
        </pc:spChg>
        <pc:spChg chg="del mod">
          <ac:chgData name="Chen Lucy, GFTIOV, BCOM" userId="015eeb7a-1a87-4ec1-9e0c-2a98ac5d916e" providerId="ADAL" clId="{12787371-45F9-4999-BA3C-FE90ED58C552}" dt="2023-06-15T03:16:44.152" v="26" actId="478"/>
          <ac:spMkLst>
            <pc:docMk/>
            <pc:sldMk cId="2971164396" sldId="2147470807"/>
            <ac:spMk id="53" creationId="{475A7428-D64D-4C67-9C6C-9F8A9AC48181}"/>
          </ac:spMkLst>
        </pc:spChg>
        <pc:spChg chg="del mod">
          <ac:chgData name="Chen Lucy, GFTIOV, BCOM" userId="015eeb7a-1a87-4ec1-9e0c-2a98ac5d916e" providerId="ADAL" clId="{12787371-45F9-4999-BA3C-FE90ED58C552}" dt="2023-06-15T03:17:02.037" v="40" actId="478"/>
          <ac:spMkLst>
            <pc:docMk/>
            <pc:sldMk cId="2971164396" sldId="2147470807"/>
            <ac:spMk id="54" creationId="{098DC1B5-0922-45B5-A2FB-2B18D8FCA722}"/>
          </ac:spMkLst>
        </pc:spChg>
        <pc:spChg chg="del">
          <ac:chgData name="Chen Lucy, GFTIOV, BCOM" userId="015eeb7a-1a87-4ec1-9e0c-2a98ac5d916e" providerId="ADAL" clId="{12787371-45F9-4999-BA3C-FE90ED58C552}" dt="2023-06-15T03:16:39.672" v="21" actId="478"/>
          <ac:spMkLst>
            <pc:docMk/>
            <pc:sldMk cId="2971164396" sldId="2147470807"/>
            <ac:spMk id="55" creationId="{8E5E79A6-30DD-49CF-9815-3D1FBE17E39D}"/>
          </ac:spMkLst>
        </pc:spChg>
        <pc:picChg chg="add del mod">
          <ac:chgData name="Chen Lucy, GFTIOV, BCOM" userId="015eeb7a-1a87-4ec1-9e0c-2a98ac5d916e" providerId="ADAL" clId="{12787371-45F9-4999-BA3C-FE90ED58C552}" dt="2023-06-15T03:16:12.410" v="12"/>
          <ac:picMkLst>
            <pc:docMk/>
            <pc:sldMk cId="2971164396" sldId="2147470807"/>
            <ac:picMk id="3" creationId="{D54E7261-6BE7-566D-B3EC-41EBFBD3A963}"/>
          </ac:picMkLst>
        </pc:picChg>
        <pc:picChg chg="del">
          <ac:chgData name="Chen Lucy, GFTIOV, BCOM" userId="015eeb7a-1a87-4ec1-9e0c-2a98ac5d916e" providerId="ADAL" clId="{12787371-45F9-4999-BA3C-FE90ED58C552}" dt="2023-06-15T03:16:46.203" v="28" actId="478"/>
          <ac:picMkLst>
            <pc:docMk/>
            <pc:sldMk cId="2971164396" sldId="2147470807"/>
            <ac:picMk id="6" creationId="{5C92B764-D89B-44F5-953C-E85B0EC9B195}"/>
          </ac:picMkLst>
        </pc:picChg>
        <pc:picChg chg="add mod ord">
          <ac:chgData name="Chen Lucy, GFTIOV, BCOM" userId="015eeb7a-1a87-4ec1-9e0c-2a98ac5d916e" providerId="ADAL" clId="{12787371-45F9-4999-BA3C-FE90ED58C552}" dt="2023-06-15T03:20:30.626" v="88" actId="1076"/>
          <ac:picMkLst>
            <pc:docMk/>
            <pc:sldMk cId="2971164396" sldId="2147470807"/>
            <ac:picMk id="12" creationId="{495CF1B2-54E7-9D80-5CF7-B448C3A93A4C}"/>
          </ac:picMkLst>
        </pc:picChg>
        <pc:picChg chg="del">
          <ac:chgData name="Chen Lucy, GFTIOV, BCOM" userId="015eeb7a-1a87-4ec1-9e0c-2a98ac5d916e" providerId="ADAL" clId="{12787371-45F9-4999-BA3C-FE90ED58C552}" dt="2023-06-15T03:16:30.275" v="15" actId="478"/>
          <ac:picMkLst>
            <pc:docMk/>
            <pc:sldMk cId="2971164396" sldId="2147470807"/>
            <ac:picMk id="16" creationId="{98A6DBBA-B162-4C8D-B41C-11D53A274236}"/>
          </ac:picMkLst>
        </pc:picChg>
        <pc:picChg chg="del">
          <ac:chgData name="Chen Lucy, GFTIOV, BCOM" userId="015eeb7a-1a87-4ec1-9e0c-2a98ac5d916e" providerId="ADAL" clId="{12787371-45F9-4999-BA3C-FE90ED58C552}" dt="2023-06-15T03:16:33.526" v="17" actId="478"/>
          <ac:picMkLst>
            <pc:docMk/>
            <pc:sldMk cId="2971164396" sldId="2147470807"/>
            <ac:picMk id="17" creationId="{EBEF3B7B-807C-41E8-A693-799697950836}"/>
          </ac:picMkLst>
        </pc:picChg>
        <pc:picChg chg="del">
          <ac:chgData name="Chen Lucy, GFTIOV, BCOM" userId="015eeb7a-1a87-4ec1-9e0c-2a98ac5d916e" providerId="ADAL" clId="{12787371-45F9-4999-BA3C-FE90ED58C552}" dt="2023-06-15T03:16:32.582" v="16" actId="478"/>
          <ac:picMkLst>
            <pc:docMk/>
            <pc:sldMk cId="2971164396" sldId="2147470807"/>
            <ac:picMk id="18" creationId="{14F8D048-73E6-41FB-938B-21C0EF26A1EE}"/>
          </ac:picMkLst>
        </pc:picChg>
        <pc:picChg chg="del">
          <ac:chgData name="Chen Lucy, GFTIOV, BCOM" userId="015eeb7a-1a87-4ec1-9e0c-2a98ac5d916e" providerId="ADAL" clId="{12787371-45F9-4999-BA3C-FE90ED58C552}" dt="2023-06-15T03:16:42.882" v="24" actId="478"/>
          <ac:picMkLst>
            <pc:docMk/>
            <pc:sldMk cId="2971164396" sldId="2147470807"/>
            <ac:picMk id="23" creationId="{B695AEB5-4DBC-459A-9964-1DF353FDD694}"/>
          </ac:picMkLst>
        </pc:picChg>
        <pc:picChg chg="del">
          <ac:chgData name="Chen Lucy, GFTIOV, BCOM" userId="015eeb7a-1a87-4ec1-9e0c-2a98ac5d916e" providerId="ADAL" clId="{12787371-45F9-4999-BA3C-FE90ED58C552}" dt="2023-06-15T03:17:00.867" v="39" actId="478"/>
          <ac:picMkLst>
            <pc:docMk/>
            <pc:sldMk cId="2971164396" sldId="2147470807"/>
            <ac:picMk id="24" creationId="{F56CC565-DBCB-4F47-9EB4-1EBBD1EBE877}"/>
          </ac:picMkLst>
        </pc:picChg>
      </pc:sldChg>
      <pc:sldChg chg="addSp delSp modSp add del mod modClrScheme chgLayout">
        <pc:chgData name="Chen Lucy, GFTIOV, BCOM" userId="015eeb7a-1a87-4ec1-9e0c-2a98ac5d916e" providerId="ADAL" clId="{12787371-45F9-4999-BA3C-FE90ED58C552}" dt="2023-06-15T03:52:17.814" v="289" actId="47"/>
        <pc:sldMkLst>
          <pc:docMk/>
          <pc:sldMk cId="1739677805" sldId="2147470808"/>
        </pc:sldMkLst>
        <pc:spChg chg="add mod ord">
          <ac:chgData name="Chen Lucy, GFTIOV, BCOM" userId="015eeb7a-1a87-4ec1-9e0c-2a98ac5d916e" providerId="ADAL" clId="{12787371-45F9-4999-BA3C-FE90ED58C552}" dt="2023-06-15T03:28:14.741" v="152" actId="700"/>
          <ac:spMkLst>
            <pc:docMk/>
            <pc:sldMk cId="1739677805" sldId="2147470808"/>
            <ac:spMk id="2" creationId="{D1A01E15-07DB-6CDB-F841-59BEF114D3CB}"/>
          </ac:spMkLst>
        </pc:spChg>
        <pc:spChg chg="mod">
          <ac:chgData name="Chen Lucy, GFTIOV, BCOM" userId="015eeb7a-1a87-4ec1-9e0c-2a98ac5d916e" providerId="ADAL" clId="{12787371-45F9-4999-BA3C-FE90ED58C552}" dt="2023-06-15T03:28:35.200" v="154"/>
          <ac:spMkLst>
            <pc:docMk/>
            <pc:sldMk cId="1739677805" sldId="2147470808"/>
            <ac:spMk id="9" creationId="{3828CF27-2FCD-CFFC-CDB8-BC3E919D1E74}"/>
          </ac:spMkLst>
        </pc:spChg>
        <pc:spChg chg="mod">
          <ac:chgData name="Chen Lucy, GFTIOV, BCOM" userId="015eeb7a-1a87-4ec1-9e0c-2a98ac5d916e" providerId="ADAL" clId="{12787371-45F9-4999-BA3C-FE90ED58C552}" dt="2023-06-15T03:28:35.200" v="154"/>
          <ac:spMkLst>
            <pc:docMk/>
            <pc:sldMk cId="1739677805" sldId="2147470808"/>
            <ac:spMk id="11" creationId="{8D943DFE-86F5-D003-4846-BA229347E308}"/>
          </ac:spMkLst>
        </pc:spChg>
        <pc:spChg chg="mod">
          <ac:chgData name="Chen Lucy, GFTIOV, BCOM" userId="015eeb7a-1a87-4ec1-9e0c-2a98ac5d916e" providerId="ADAL" clId="{12787371-45F9-4999-BA3C-FE90ED58C552}" dt="2023-06-15T03:28:35.200" v="154"/>
          <ac:spMkLst>
            <pc:docMk/>
            <pc:sldMk cId="1739677805" sldId="2147470808"/>
            <ac:spMk id="13" creationId="{F0A6576E-963F-A142-0DB5-A4EEA0664032}"/>
          </ac:spMkLst>
        </pc:spChg>
        <pc:spChg chg="mod">
          <ac:chgData name="Chen Lucy, GFTIOV, BCOM" userId="015eeb7a-1a87-4ec1-9e0c-2a98ac5d916e" providerId="ADAL" clId="{12787371-45F9-4999-BA3C-FE90ED58C552}" dt="2023-06-15T03:28:35.200" v="154"/>
          <ac:spMkLst>
            <pc:docMk/>
            <pc:sldMk cId="1739677805" sldId="2147470808"/>
            <ac:spMk id="14" creationId="{20348952-403A-952B-2A1F-341F321CB652}"/>
          </ac:spMkLst>
        </pc:spChg>
        <pc:spChg chg="mod">
          <ac:chgData name="Chen Lucy, GFTIOV, BCOM" userId="015eeb7a-1a87-4ec1-9e0c-2a98ac5d916e" providerId="ADAL" clId="{12787371-45F9-4999-BA3C-FE90ED58C552}" dt="2023-06-15T03:28:35.200" v="154"/>
          <ac:spMkLst>
            <pc:docMk/>
            <pc:sldMk cId="1739677805" sldId="2147470808"/>
            <ac:spMk id="17" creationId="{A963302C-BC89-F27A-9D21-6A6462CB485D}"/>
          </ac:spMkLst>
        </pc:spChg>
        <pc:spChg chg="mod">
          <ac:chgData name="Chen Lucy, GFTIOV, BCOM" userId="015eeb7a-1a87-4ec1-9e0c-2a98ac5d916e" providerId="ADAL" clId="{12787371-45F9-4999-BA3C-FE90ED58C552}" dt="2023-06-15T03:28:35.200" v="154"/>
          <ac:spMkLst>
            <pc:docMk/>
            <pc:sldMk cId="1739677805" sldId="2147470808"/>
            <ac:spMk id="18" creationId="{79072338-B848-87D7-8A87-9DE7724AB41A}"/>
          </ac:spMkLst>
        </pc:spChg>
        <pc:spChg chg="mod ord">
          <ac:chgData name="Chen Lucy, GFTIOV, BCOM" userId="015eeb7a-1a87-4ec1-9e0c-2a98ac5d916e" providerId="ADAL" clId="{12787371-45F9-4999-BA3C-FE90ED58C552}" dt="2023-06-15T03:28:14.741" v="152" actId="700"/>
          <ac:spMkLst>
            <pc:docMk/>
            <pc:sldMk cId="1739677805" sldId="2147470808"/>
            <ac:spMk id="19" creationId="{00000000-0000-0000-0000-000000000000}"/>
          </ac:spMkLst>
        </pc:spChg>
        <pc:spChg chg="del">
          <ac:chgData name="Chen Lucy, GFTIOV, BCOM" userId="015eeb7a-1a87-4ec1-9e0c-2a98ac5d916e" providerId="ADAL" clId="{12787371-45F9-4999-BA3C-FE90ED58C552}" dt="2023-06-15T03:28:17.615" v="153" actId="478"/>
          <ac:spMkLst>
            <pc:docMk/>
            <pc:sldMk cId="1739677805" sldId="2147470808"/>
            <ac:spMk id="30" creationId="{00000000-0000-0000-0000-000000000000}"/>
          </ac:spMkLst>
        </pc:spChg>
        <pc:spChg chg="mod">
          <ac:chgData name="Chen Lucy, GFTIOV, BCOM" userId="015eeb7a-1a87-4ec1-9e0c-2a98ac5d916e" providerId="ADAL" clId="{12787371-45F9-4999-BA3C-FE90ED58C552}" dt="2023-06-15T03:28:39.591" v="156"/>
          <ac:spMkLst>
            <pc:docMk/>
            <pc:sldMk cId="1739677805" sldId="2147470808"/>
            <ac:spMk id="33" creationId="{0F7DDD7F-9CAB-2F9C-F7E8-64DA1791A668}"/>
          </ac:spMkLst>
        </pc:spChg>
        <pc:spChg chg="mod">
          <ac:chgData name="Chen Lucy, GFTIOV, BCOM" userId="015eeb7a-1a87-4ec1-9e0c-2a98ac5d916e" providerId="ADAL" clId="{12787371-45F9-4999-BA3C-FE90ED58C552}" dt="2023-06-15T03:28:39.591" v="156"/>
          <ac:spMkLst>
            <pc:docMk/>
            <pc:sldMk cId="1739677805" sldId="2147470808"/>
            <ac:spMk id="34" creationId="{E4C3E0AE-90DD-1BBF-CB00-22B7336F632F}"/>
          </ac:spMkLst>
        </pc:spChg>
        <pc:spChg chg="mod">
          <ac:chgData name="Chen Lucy, GFTIOV, BCOM" userId="015eeb7a-1a87-4ec1-9e0c-2a98ac5d916e" providerId="ADAL" clId="{12787371-45F9-4999-BA3C-FE90ED58C552}" dt="2023-06-15T03:28:39.591" v="156"/>
          <ac:spMkLst>
            <pc:docMk/>
            <pc:sldMk cId="1739677805" sldId="2147470808"/>
            <ac:spMk id="36" creationId="{94849428-B495-F499-985D-F8B37A4833C9}"/>
          </ac:spMkLst>
        </pc:spChg>
        <pc:spChg chg="mod">
          <ac:chgData name="Chen Lucy, GFTIOV, BCOM" userId="015eeb7a-1a87-4ec1-9e0c-2a98ac5d916e" providerId="ADAL" clId="{12787371-45F9-4999-BA3C-FE90ED58C552}" dt="2023-06-15T03:28:39.591" v="156"/>
          <ac:spMkLst>
            <pc:docMk/>
            <pc:sldMk cId="1739677805" sldId="2147470808"/>
            <ac:spMk id="37" creationId="{D2FBC9CE-D9D8-5543-3701-47B651A26070}"/>
          </ac:spMkLst>
        </pc:spChg>
        <pc:spChg chg="mod">
          <ac:chgData name="Chen Lucy, GFTIOV, BCOM" userId="015eeb7a-1a87-4ec1-9e0c-2a98ac5d916e" providerId="ADAL" clId="{12787371-45F9-4999-BA3C-FE90ED58C552}" dt="2023-06-15T03:28:39.591" v="156"/>
          <ac:spMkLst>
            <pc:docMk/>
            <pc:sldMk cId="1739677805" sldId="2147470808"/>
            <ac:spMk id="39" creationId="{88983B34-CD77-572C-13AD-97FA084E5AD8}"/>
          </ac:spMkLst>
        </pc:spChg>
        <pc:spChg chg="mod">
          <ac:chgData name="Chen Lucy, GFTIOV, BCOM" userId="015eeb7a-1a87-4ec1-9e0c-2a98ac5d916e" providerId="ADAL" clId="{12787371-45F9-4999-BA3C-FE90ED58C552}" dt="2023-06-15T03:28:39.591" v="156"/>
          <ac:spMkLst>
            <pc:docMk/>
            <pc:sldMk cId="1739677805" sldId="2147470808"/>
            <ac:spMk id="40" creationId="{68F51F74-9E1D-1D29-850F-E84C9D5AB736}"/>
          </ac:spMkLst>
        </pc:spChg>
        <pc:grpChg chg="add del mod">
          <ac:chgData name="Chen Lucy, GFTIOV, BCOM" userId="015eeb7a-1a87-4ec1-9e0c-2a98ac5d916e" providerId="ADAL" clId="{12787371-45F9-4999-BA3C-FE90ED58C552}" dt="2023-06-15T03:28:37.155" v="155"/>
          <ac:grpSpMkLst>
            <pc:docMk/>
            <pc:sldMk cId="1739677805" sldId="2147470808"/>
            <ac:grpSpMk id="4" creationId="{B9902C09-8461-38ED-CA16-CEB546DDF2C3}"/>
          </ac:grpSpMkLst>
        </pc:grpChg>
        <pc:grpChg chg="del">
          <ac:chgData name="Chen Lucy, GFTIOV, BCOM" userId="015eeb7a-1a87-4ec1-9e0c-2a98ac5d916e" providerId="ADAL" clId="{12787371-45F9-4999-BA3C-FE90ED58C552}" dt="2023-06-15T03:28:41.931" v="157" actId="478"/>
          <ac:grpSpMkLst>
            <pc:docMk/>
            <pc:sldMk cId="1739677805" sldId="2147470808"/>
            <ac:grpSpMk id="5" creationId="{00000000-0000-0000-0000-000000000000}"/>
          </ac:grpSpMkLst>
        </pc:grpChg>
        <pc:grpChg chg="add del mod">
          <ac:chgData name="Chen Lucy, GFTIOV, BCOM" userId="015eeb7a-1a87-4ec1-9e0c-2a98ac5d916e" providerId="ADAL" clId="{12787371-45F9-4999-BA3C-FE90ED58C552}" dt="2023-06-15T03:28:37.155" v="155"/>
          <ac:grpSpMkLst>
            <pc:docMk/>
            <pc:sldMk cId="1739677805" sldId="2147470808"/>
            <ac:grpSpMk id="12" creationId="{B23893DE-4E3C-254E-0957-2882403C44FC}"/>
          </ac:grpSpMkLst>
        </pc:grpChg>
        <pc:grpChg chg="add del mod">
          <ac:chgData name="Chen Lucy, GFTIOV, BCOM" userId="015eeb7a-1a87-4ec1-9e0c-2a98ac5d916e" providerId="ADAL" clId="{12787371-45F9-4999-BA3C-FE90ED58C552}" dt="2023-06-15T03:28:37.155" v="155"/>
          <ac:grpSpMkLst>
            <pc:docMk/>
            <pc:sldMk cId="1739677805" sldId="2147470808"/>
            <ac:grpSpMk id="16" creationId="{98A2C863-53A0-C8FF-C64D-92509B917C44}"/>
          </ac:grpSpMkLst>
        </pc:grpChg>
        <pc:grpChg chg="add mod">
          <ac:chgData name="Chen Lucy, GFTIOV, BCOM" userId="015eeb7a-1a87-4ec1-9e0c-2a98ac5d916e" providerId="ADAL" clId="{12787371-45F9-4999-BA3C-FE90ED58C552}" dt="2023-06-15T03:28:44.994" v="158" actId="1076"/>
          <ac:grpSpMkLst>
            <pc:docMk/>
            <pc:sldMk cId="1739677805" sldId="2147470808"/>
            <ac:grpSpMk id="21" creationId="{3A20A767-FE35-300A-18F8-4284EA684F05}"/>
          </ac:grpSpMkLst>
        </pc:grpChg>
        <pc:grpChg chg="del">
          <ac:chgData name="Chen Lucy, GFTIOV, BCOM" userId="015eeb7a-1a87-4ec1-9e0c-2a98ac5d916e" providerId="ADAL" clId="{12787371-45F9-4999-BA3C-FE90ED58C552}" dt="2023-06-15T03:28:46.257" v="159" actId="478"/>
          <ac:grpSpMkLst>
            <pc:docMk/>
            <pc:sldMk cId="1739677805" sldId="2147470808"/>
            <ac:grpSpMk id="24" creationId="{00000000-0000-0000-0000-000000000000}"/>
          </ac:grpSpMkLst>
        </pc:grpChg>
        <pc:grpChg chg="del">
          <ac:chgData name="Chen Lucy, GFTIOV, BCOM" userId="015eeb7a-1a87-4ec1-9e0c-2a98ac5d916e" providerId="ADAL" clId="{12787371-45F9-4999-BA3C-FE90ED58C552}" dt="2023-06-15T03:28:47.945" v="160" actId="478"/>
          <ac:grpSpMkLst>
            <pc:docMk/>
            <pc:sldMk cId="1739677805" sldId="2147470808"/>
            <ac:grpSpMk id="27" creationId="{00000000-0000-0000-0000-000000000000}"/>
          </ac:grpSpMkLst>
        </pc:grpChg>
        <pc:grpChg chg="add mod">
          <ac:chgData name="Chen Lucy, GFTIOV, BCOM" userId="015eeb7a-1a87-4ec1-9e0c-2a98ac5d916e" providerId="ADAL" clId="{12787371-45F9-4999-BA3C-FE90ED58C552}" dt="2023-06-15T03:28:55.591" v="162" actId="1076"/>
          <ac:grpSpMkLst>
            <pc:docMk/>
            <pc:sldMk cId="1739677805" sldId="2147470808"/>
            <ac:grpSpMk id="35" creationId="{EBE453D7-887E-0BF6-F47F-4767EA7AC218}"/>
          </ac:grpSpMkLst>
        </pc:grpChg>
        <pc:grpChg chg="add mod">
          <ac:chgData name="Chen Lucy, GFTIOV, BCOM" userId="015eeb7a-1a87-4ec1-9e0c-2a98ac5d916e" providerId="ADAL" clId="{12787371-45F9-4999-BA3C-FE90ED58C552}" dt="2023-06-15T03:29:13.560" v="163" actId="1076"/>
          <ac:grpSpMkLst>
            <pc:docMk/>
            <pc:sldMk cId="1739677805" sldId="2147470808"/>
            <ac:grpSpMk id="38" creationId="{96A52A9E-5E7C-6C3B-428B-8FCAE4486A92}"/>
          </ac:grpSpMkLst>
        </pc:grpChg>
      </pc:sldChg>
      <pc:sldChg chg="addSp delSp modSp add del mod modClrScheme chgLayout">
        <pc:chgData name="Chen Lucy, GFTIOV, BCOM" userId="015eeb7a-1a87-4ec1-9e0c-2a98ac5d916e" providerId="ADAL" clId="{12787371-45F9-4999-BA3C-FE90ED58C552}" dt="2023-06-15T05:14:46.324" v="564" actId="47"/>
        <pc:sldMkLst>
          <pc:docMk/>
          <pc:sldMk cId="3728798349" sldId="2147470808"/>
        </pc:sldMkLst>
        <pc:spChg chg="mod ord">
          <ac:chgData name="Chen Lucy, GFTIOV, BCOM" userId="015eeb7a-1a87-4ec1-9e0c-2a98ac5d916e" providerId="ADAL" clId="{12787371-45F9-4999-BA3C-FE90ED58C552}" dt="2023-06-15T03:56:55.714" v="323" actId="700"/>
          <ac:spMkLst>
            <pc:docMk/>
            <pc:sldMk cId="3728798349" sldId="2147470808"/>
            <ac:spMk id="3" creationId="{00000000-0000-0000-0000-000000000000}"/>
          </ac:spMkLst>
        </pc:spChg>
        <pc:spChg chg="add mod">
          <ac:chgData name="Chen Lucy, GFTIOV, BCOM" userId="015eeb7a-1a87-4ec1-9e0c-2a98ac5d916e" providerId="ADAL" clId="{12787371-45F9-4999-BA3C-FE90ED58C552}" dt="2023-06-15T04:14:40.129" v="480" actId="1076"/>
          <ac:spMkLst>
            <pc:docMk/>
            <pc:sldMk cId="3728798349" sldId="2147470808"/>
            <ac:spMk id="4" creationId="{A38E7AA7-CF7F-291C-1E74-D96BEEDDD83C}"/>
          </ac:spMkLst>
        </pc:spChg>
        <pc:spChg chg="add mod">
          <ac:chgData name="Chen Lucy, GFTIOV, BCOM" userId="015eeb7a-1a87-4ec1-9e0c-2a98ac5d916e" providerId="ADAL" clId="{12787371-45F9-4999-BA3C-FE90ED58C552}" dt="2023-06-15T04:14:46.646" v="481" actId="1076"/>
          <ac:spMkLst>
            <pc:docMk/>
            <pc:sldMk cId="3728798349" sldId="2147470808"/>
            <ac:spMk id="5" creationId="{C3623CD7-96A3-7E83-6D5C-623A5DAEC924}"/>
          </ac:spMkLst>
        </pc:spChg>
        <pc:spChg chg="mod ord">
          <ac:chgData name="Chen Lucy, GFTIOV, BCOM" userId="015eeb7a-1a87-4ec1-9e0c-2a98ac5d916e" providerId="ADAL" clId="{12787371-45F9-4999-BA3C-FE90ED58C552}" dt="2023-06-15T03:58:41.211" v="370" actId="207"/>
          <ac:spMkLst>
            <pc:docMk/>
            <pc:sldMk cId="3728798349" sldId="2147470808"/>
            <ac:spMk id="6" creationId="{1FF3CC93-A50E-319A-1D4C-7A30DB619C11}"/>
          </ac:spMkLst>
        </pc:spChg>
        <pc:spChg chg="mod">
          <ac:chgData name="Chen Lucy, GFTIOV, BCOM" userId="015eeb7a-1a87-4ec1-9e0c-2a98ac5d916e" providerId="ADAL" clId="{12787371-45F9-4999-BA3C-FE90ED58C552}" dt="2023-06-15T03:57:30.528" v="349" actId="14100"/>
          <ac:spMkLst>
            <pc:docMk/>
            <pc:sldMk cId="3728798349" sldId="2147470808"/>
            <ac:spMk id="8" creationId="{7E349302-E8DD-271D-87B4-7330E2ACB478}"/>
          </ac:spMkLst>
        </pc:spChg>
        <pc:spChg chg="del">
          <ac:chgData name="Chen Lucy, GFTIOV, BCOM" userId="015eeb7a-1a87-4ec1-9e0c-2a98ac5d916e" providerId="ADAL" clId="{12787371-45F9-4999-BA3C-FE90ED58C552}" dt="2023-06-15T03:57:06.231" v="326" actId="478"/>
          <ac:spMkLst>
            <pc:docMk/>
            <pc:sldMk cId="3728798349" sldId="2147470808"/>
            <ac:spMk id="10" creationId="{00000000-0000-0000-0000-000000000000}"/>
          </ac:spMkLst>
        </pc:spChg>
        <pc:spChg chg="mod">
          <ac:chgData name="Chen Lucy, GFTIOV, BCOM" userId="015eeb7a-1a87-4ec1-9e0c-2a98ac5d916e" providerId="ADAL" clId="{12787371-45F9-4999-BA3C-FE90ED58C552}" dt="2023-06-15T03:57:43.635" v="352" actId="14100"/>
          <ac:spMkLst>
            <pc:docMk/>
            <pc:sldMk cId="3728798349" sldId="2147470808"/>
            <ac:spMk id="11" creationId="{B4BEB0EA-A49D-D02D-8974-8261064652E5}"/>
          </ac:spMkLst>
        </pc:spChg>
        <pc:spChg chg="mod">
          <ac:chgData name="Chen Lucy, GFTIOV, BCOM" userId="015eeb7a-1a87-4ec1-9e0c-2a98ac5d916e" providerId="ADAL" clId="{12787371-45F9-4999-BA3C-FE90ED58C552}" dt="2023-06-15T03:58:08.632" v="361" actId="14100"/>
          <ac:spMkLst>
            <pc:docMk/>
            <pc:sldMk cId="3728798349" sldId="2147470808"/>
            <ac:spMk id="12" creationId="{96F5D0BB-9E95-7770-6DB7-2F84B74B5B69}"/>
          </ac:spMkLst>
        </pc:spChg>
        <pc:spChg chg="add mod">
          <ac:chgData name="Chen Lucy, GFTIOV, BCOM" userId="015eeb7a-1a87-4ec1-9e0c-2a98ac5d916e" providerId="ADAL" clId="{12787371-45F9-4999-BA3C-FE90ED58C552}" dt="2023-06-15T05:08:38.637" v="534" actId="20577"/>
          <ac:spMkLst>
            <pc:docMk/>
            <pc:sldMk cId="3728798349" sldId="2147470808"/>
            <ac:spMk id="13" creationId="{B24C35B6-B9A4-8935-CE98-9BD31F710E78}"/>
          </ac:spMkLst>
        </pc:spChg>
        <pc:spChg chg="mod">
          <ac:chgData name="Chen Lucy, GFTIOV, BCOM" userId="015eeb7a-1a87-4ec1-9e0c-2a98ac5d916e" providerId="ADAL" clId="{12787371-45F9-4999-BA3C-FE90ED58C552}" dt="2023-06-15T03:57:22.487" v="346" actId="1036"/>
          <ac:spMkLst>
            <pc:docMk/>
            <pc:sldMk cId="3728798349" sldId="2147470808"/>
            <ac:spMk id="16" creationId="{00000000-0000-0000-0000-000000000000}"/>
          </ac:spMkLst>
        </pc:spChg>
        <pc:spChg chg="mod">
          <ac:chgData name="Chen Lucy, GFTIOV, BCOM" userId="015eeb7a-1a87-4ec1-9e0c-2a98ac5d916e" providerId="ADAL" clId="{12787371-45F9-4999-BA3C-FE90ED58C552}" dt="2023-06-15T03:57:56.433" v="358" actId="1076"/>
          <ac:spMkLst>
            <pc:docMk/>
            <pc:sldMk cId="3728798349" sldId="2147470808"/>
            <ac:spMk id="17" creationId="{00000000-0000-0000-0000-000000000000}"/>
          </ac:spMkLst>
        </pc:spChg>
        <pc:spChg chg="mod">
          <ac:chgData name="Chen Lucy, GFTIOV, BCOM" userId="015eeb7a-1a87-4ec1-9e0c-2a98ac5d916e" providerId="ADAL" clId="{12787371-45F9-4999-BA3C-FE90ED58C552}" dt="2023-06-15T03:58:13.718" v="366" actId="1076"/>
          <ac:spMkLst>
            <pc:docMk/>
            <pc:sldMk cId="3728798349" sldId="2147470808"/>
            <ac:spMk id="18" creationId="{00000000-0000-0000-0000-000000000000}"/>
          </ac:spMkLst>
        </pc:spChg>
        <pc:spChg chg="mod">
          <ac:chgData name="Chen Lucy, GFTIOV, BCOM" userId="015eeb7a-1a87-4ec1-9e0c-2a98ac5d916e" providerId="ADAL" clId="{12787371-45F9-4999-BA3C-FE90ED58C552}" dt="2023-06-15T03:57:46.337" v="353" actId="1076"/>
          <ac:spMkLst>
            <pc:docMk/>
            <pc:sldMk cId="3728798349" sldId="2147470808"/>
            <ac:spMk id="19" creationId="{00000000-0000-0000-0000-000000000000}"/>
          </ac:spMkLst>
        </pc:spChg>
        <pc:spChg chg="mod">
          <ac:chgData name="Chen Lucy, GFTIOV, BCOM" userId="015eeb7a-1a87-4ec1-9e0c-2a98ac5d916e" providerId="ADAL" clId="{12787371-45F9-4999-BA3C-FE90ED58C552}" dt="2023-06-15T03:58:22.523" v="368" actId="1076"/>
          <ac:spMkLst>
            <pc:docMk/>
            <pc:sldMk cId="3728798349" sldId="2147470808"/>
            <ac:spMk id="20" creationId="{00000000-0000-0000-0000-000000000000}"/>
          </ac:spMkLst>
        </pc:spChg>
        <pc:spChg chg="mod">
          <ac:chgData name="Chen Lucy, GFTIOV, BCOM" userId="015eeb7a-1a87-4ec1-9e0c-2a98ac5d916e" providerId="ADAL" clId="{12787371-45F9-4999-BA3C-FE90ED58C552}" dt="2023-06-15T03:57:51.795" v="356" actId="1076"/>
          <ac:spMkLst>
            <pc:docMk/>
            <pc:sldMk cId="3728798349" sldId="2147470808"/>
            <ac:spMk id="21" creationId="{00000000-0000-0000-0000-000000000000}"/>
          </ac:spMkLst>
        </pc:spChg>
        <pc:picChg chg="add mod ord">
          <ac:chgData name="Chen Lucy, GFTIOV, BCOM" userId="015eeb7a-1a87-4ec1-9e0c-2a98ac5d916e" providerId="ADAL" clId="{12787371-45F9-4999-BA3C-FE90ED58C552}" dt="2023-06-15T03:57:22.487" v="346" actId="1036"/>
          <ac:picMkLst>
            <pc:docMk/>
            <pc:sldMk cId="3728798349" sldId="2147470808"/>
            <ac:picMk id="2" creationId="{F88C744B-303F-A96B-F6CD-2C58AE690B90}"/>
          </ac:picMkLst>
        </pc:picChg>
        <pc:picChg chg="del mod ord">
          <ac:chgData name="Chen Lucy, GFTIOV, BCOM" userId="015eeb7a-1a87-4ec1-9e0c-2a98ac5d916e" providerId="ADAL" clId="{12787371-45F9-4999-BA3C-FE90ED58C552}" dt="2023-06-15T03:57:25.009" v="347" actId="478"/>
          <ac:picMkLst>
            <pc:docMk/>
            <pc:sldMk cId="3728798349" sldId="2147470808"/>
            <ac:picMk id="7" creationId="{00000000-0000-0000-0000-000000000000}"/>
          </ac:picMkLst>
        </pc:picChg>
        <pc:picChg chg="mod">
          <ac:chgData name="Chen Lucy, GFTIOV, BCOM" userId="015eeb7a-1a87-4ec1-9e0c-2a98ac5d916e" providerId="ADAL" clId="{12787371-45F9-4999-BA3C-FE90ED58C552}" dt="2023-06-15T03:58:01.857" v="359" actId="14100"/>
          <ac:picMkLst>
            <pc:docMk/>
            <pc:sldMk cId="3728798349" sldId="2147470808"/>
            <ac:picMk id="9" creationId="{00000000-0000-0000-0000-000000000000}"/>
          </ac:picMkLst>
        </pc:picChg>
        <pc:picChg chg="mod">
          <ac:chgData name="Chen Lucy, GFTIOV, BCOM" userId="015eeb7a-1a87-4ec1-9e0c-2a98ac5d916e" providerId="ADAL" clId="{12787371-45F9-4999-BA3C-FE90ED58C552}" dt="2023-06-15T03:57:40.809" v="351" actId="14100"/>
          <ac:picMkLst>
            <pc:docMk/>
            <pc:sldMk cId="3728798349" sldId="2147470808"/>
            <ac:picMk id="31748" creationId="{00000000-0000-0000-0000-000000000000}"/>
          </ac:picMkLst>
        </pc:picChg>
      </pc:sldChg>
      <pc:sldChg chg="delSp modSp del mod">
        <pc:chgData name="Chen Lucy, GFTIOV, BCOM" userId="015eeb7a-1a87-4ec1-9e0c-2a98ac5d916e" providerId="ADAL" clId="{12787371-45F9-4999-BA3C-FE90ED58C552}" dt="2023-06-15T03:52:39.365" v="296" actId="47"/>
        <pc:sldMkLst>
          <pc:docMk/>
          <pc:sldMk cId="2828738899" sldId="2147470809"/>
        </pc:sldMkLst>
        <pc:spChg chg="del">
          <ac:chgData name="Chen Lucy, GFTIOV, BCOM" userId="015eeb7a-1a87-4ec1-9e0c-2a98ac5d916e" providerId="ADAL" clId="{12787371-45F9-4999-BA3C-FE90ED58C552}" dt="2023-06-15T03:46:30.556" v="209" actId="478"/>
          <ac:spMkLst>
            <pc:docMk/>
            <pc:sldMk cId="2828738899" sldId="2147470809"/>
            <ac:spMk id="2" creationId="{D1A01E15-07DB-6CDB-F841-59BEF114D3CB}"/>
          </ac:spMkLst>
        </pc:spChg>
        <pc:spChg chg="mod">
          <ac:chgData name="Chen Lucy, GFTIOV, BCOM" userId="015eeb7a-1a87-4ec1-9e0c-2a98ac5d916e" providerId="ADAL" clId="{12787371-45F9-4999-BA3C-FE90ED58C552}" dt="2023-06-15T03:47:22.127" v="243"/>
          <ac:spMkLst>
            <pc:docMk/>
            <pc:sldMk cId="2828738899" sldId="2147470809"/>
            <ac:spMk id="15" creationId="{00000000-0000-0000-0000-000000000000}"/>
          </ac:spMkLst>
        </pc:spChg>
      </pc:sldChg>
      <pc:sldChg chg="addSp delSp modSp add mod modClrScheme chgLayout">
        <pc:chgData name="Chen Lucy, GFTIOV, BCOM" userId="015eeb7a-1a87-4ec1-9e0c-2a98ac5d916e" providerId="ADAL" clId="{12787371-45F9-4999-BA3C-FE90ED58C552}" dt="2023-06-15T05:10:35.156" v="538" actId="1076"/>
        <pc:sldMkLst>
          <pc:docMk/>
          <pc:sldMk cId="3734344123" sldId="2147470809"/>
        </pc:sldMkLst>
        <pc:spChg chg="add mod ord">
          <ac:chgData name="Chen Lucy, GFTIOV, BCOM" userId="015eeb7a-1a87-4ec1-9e0c-2a98ac5d916e" providerId="ADAL" clId="{12787371-45F9-4999-BA3C-FE90ED58C552}" dt="2023-06-15T05:04:44.472" v="495" actId="700"/>
          <ac:spMkLst>
            <pc:docMk/>
            <pc:sldMk cId="3734344123" sldId="2147470809"/>
            <ac:spMk id="2" creationId="{35241DD0-BF22-CC2F-2CE6-DDBAB4229AD5}"/>
          </ac:spMkLst>
        </pc:spChg>
        <pc:spChg chg="del">
          <ac:chgData name="Chen Lucy, GFTIOV, BCOM" userId="015eeb7a-1a87-4ec1-9e0c-2a98ac5d916e" providerId="ADAL" clId="{12787371-45F9-4999-BA3C-FE90ED58C552}" dt="2023-06-15T05:04:37.016" v="493" actId="478"/>
          <ac:spMkLst>
            <pc:docMk/>
            <pc:sldMk cId="3734344123" sldId="2147470809"/>
            <ac:spMk id="15" creationId="{00000000-0000-0000-0000-000000000000}"/>
          </ac:spMkLst>
        </pc:spChg>
        <pc:spChg chg="mod">
          <ac:chgData name="Chen Lucy, GFTIOV, BCOM" userId="015eeb7a-1a87-4ec1-9e0c-2a98ac5d916e" providerId="ADAL" clId="{12787371-45F9-4999-BA3C-FE90ED58C552}" dt="2023-06-15T05:10:29.265" v="537" actId="1076"/>
          <ac:spMkLst>
            <pc:docMk/>
            <pc:sldMk cId="3734344123" sldId="2147470809"/>
            <ac:spMk id="18" creationId="{DF6B4F1D-F8C7-B21A-811D-6098C2D00D4A}"/>
          </ac:spMkLst>
        </pc:spChg>
        <pc:spChg chg="del mod ord">
          <ac:chgData name="Chen Lucy, GFTIOV, BCOM" userId="015eeb7a-1a87-4ec1-9e0c-2a98ac5d916e" providerId="ADAL" clId="{12787371-45F9-4999-BA3C-FE90ED58C552}" dt="2023-06-15T05:06:25.873" v="500" actId="478"/>
          <ac:spMkLst>
            <pc:docMk/>
            <pc:sldMk cId="3734344123" sldId="2147470809"/>
            <ac:spMk id="19" creationId="{00000000-0000-0000-0000-000000000000}"/>
          </ac:spMkLst>
        </pc:spChg>
        <pc:spChg chg="mod">
          <ac:chgData name="Chen Lucy, GFTIOV, BCOM" userId="015eeb7a-1a87-4ec1-9e0c-2a98ac5d916e" providerId="ADAL" clId="{12787371-45F9-4999-BA3C-FE90ED58C552}" dt="2023-06-15T05:10:35.156" v="538" actId="1076"/>
          <ac:spMkLst>
            <pc:docMk/>
            <pc:sldMk cId="3734344123" sldId="2147470809"/>
            <ac:spMk id="21" creationId="{22674025-384C-8A79-2ED7-BFF671FF03CE}"/>
          </ac:spMkLst>
        </pc:spChg>
        <pc:picChg chg="mod">
          <ac:chgData name="Chen Lucy, GFTIOV, BCOM" userId="015eeb7a-1a87-4ec1-9e0c-2a98ac5d916e" providerId="ADAL" clId="{12787371-45F9-4999-BA3C-FE90ED58C552}" dt="2023-06-15T05:04:24.827" v="491" actId="14100"/>
          <ac:picMkLst>
            <pc:docMk/>
            <pc:sldMk cId="3734344123" sldId="2147470809"/>
            <ac:picMk id="4" creationId="{771A1ED8-7A7F-272D-49E0-1AF80202A907}"/>
          </ac:picMkLst>
        </pc:picChg>
      </pc:sldChg>
      <pc:sldChg chg="modSp add mod">
        <pc:chgData name="Chen Lucy, GFTIOV, BCOM" userId="015eeb7a-1a87-4ec1-9e0c-2a98ac5d916e" providerId="ADAL" clId="{12787371-45F9-4999-BA3C-FE90ED58C552}" dt="2023-06-15T05:14:41.685" v="563" actId="1076"/>
        <pc:sldMkLst>
          <pc:docMk/>
          <pc:sldMk cId="2618505531" sldId="2147470810"/>
        </pc:sldMkLst>
        <pc:spChg chg="mod">
          <ac:chgData name="Chen Lucy, GFTIOV, BCOM" userId="015eeb7a-1a87-4ec1-9e0c-2a98ac5d916e" providerId="ADAL" clId="{12787371-45F9-4999-BA3C-FE90ED58C552}" dt="2023-06-15T05:14:17.855" v="561" actId="1076"/>
          <ac:spMkLst>
            <pc:docMk/>
            <pc:sldMk cId="2618505531" sldId="2147470810"/>
            <ac:spMk id="3" creationId="{00000000-0000-0000-0000-000000000000}"/>
          </ac:spMkLst>
        </pc:spChg>
        <pc:spChg chg="mod">
          <ac:chgData name="Chen Lucy, GFTIOV, BCOM" userId="015eeb7a-1a87-4ec1-9e0c-2a98ac5d916e" providerId="ADAL" clId="{12787371-45F9-4999-BA3C-FE90ED58C552}" dt="2023-06-15T05:14:36.674" v="562" actId="1076"/>
          <ac:spMkLst>
            <pc:docMk/>
            <pc:sldMk cId="2618505531" sldId="2147470810"/>
            <ac:spMk id="5" creationId="{C3623CD7-96A3-7E83-6D5C-623A5DAEC924}"/>
          </ac:spMkLst>
        </pc:spChg>
        <pc:spChg chg="mod">
          <ac:chgData name="Chen Lucy, GFTIOV, BCOM" userId="015eeb7a-1a87-4ec1-9e0c-2a98ac5d916e" providerId="ADAL" clId="{12787371-45F9-4999-BA3C-FE90ED58C552}" dt="2023-06-15T05:13:55.384" v="557" actId="1076"/>
          <ac:spMkLst>
            <pc:docMk/>
            <pc:sldMk cId="2618505531" sldId="2147470810"/>
            <ac:spMk id="8" creationId="{7E349302-E8DD-271D-87B4-7330E2ACB478}"/>
          </ac:spMkLst>
        </pc:spChg>
        <pc:spChg chg="mod">
          <ac:chgData name="Chen Lucy, GFTIOV, BCOM" userId="015eeb7a-1a87-4ec1-9e0c-2a98ac5d916e" providerId="ADAL" clId="{12787371-45F9-4999-BA3C-FE90ED58C552}" dt="2023-06-15T05:14:09.773" v="559" actId="14100"/>
          <ac:spMkLst>
            <pc:docMk/>
            <pc:sldMk cId="2618505531" sldId="2147470810"/>
            <ac:spMk id="12" creationId="{96F5D0BB-9E95-7770-6DB7-2F84B74B5B69}"/>
          </ac:spMkLst>
        </pc:spChg>
        <pc:spChg chg="mod">
          <ac:chgData name="Chen Lucy, GFTIOV, BCOM" userId="015eeb7a-1a87-4ec1-9e0c-2a98ac5d916e" providerId="ADAL" clId="{12787371-45F9-4999-BA3C-FE90ED58C552}" dt="2023-06-15T05:14:41.685" v="563" actId="1076"/>
          <ac:spMkLst>
            <pc:docMk/>
            <pc:sldMk cId="2618505531" sldId="2147470810"/>
            <ac:spMk id="13" creationId="{B24C35B6-B9A4-8935-CE98-9BD31F710E78}"/>
          </ac:spMkLst>
        </pc:spChg>
        <pc:spChg chg="mod">
          <ac:chgData name="Chen Lucy, GFTIOV, BCOM" userId="015eeb7a-1a87-4ec1-9e0c-2a98ac5d916e" providerId="ADAL" clId="{12787371-45F9-4999-BA3C-FE90ED58C552}" dt="2023-06-15T05:13:55.384" v="557" actId="1076"/>
          <ac:spMkLst>
            <pc:docMk/>
            <pc:sldMk cId="2618505531" sldId="2147470810"/>
            <ac:spMk id="16" creationId="{00000000-0000-0000-0000-000000000000}"/>
          </ac:spMkLst>
        </pc:spChg>
        <pc:spChg chg="mod">
          <ac:chgData name="Chen Lucy, GFTIOV, BCOM" userId="015eeb7a-1a87-4ec1-9e0c-2a98ac5d916e" providerId="ADAL" clId="{12787371-45F9-4999-BA3C-FE90ED58C552}" dt="2023-06-15T05:13:55.384" v="557" actId="1076"/>
          <ac:spMkLst>
            <pc:docMk/>
            <pc:sldMk cId="2618505531" sldId="2147470810"/>
            <ac:spMk id="17" creationId="{00000000-0000-0000-0000-000000000000}"/>
          </ac:spMkLst>
        </pc:spChg>
        <pc:spChg chg="mod">
          <ac:chgData name="Chen Lucy, GFTIOV, BCOM" userId="015eeb7a-1a87-4ec1-9e0c-2a98ac5d916e" providerId="ADAL" clId="{12787371-45F9-4999-BA3C-FE90ED58C552}" dt="2023-06-15T05:12:53.096" v="545" actId="1076"/>
          <ac:spMkLst>
            <pc:docMk/>
            <pc:sldMk cId="2618505531" sldId="2147470810"/>
            <ac:spMk id="18" creationId="{00000000-0000-0000-0000-000000000000}"/>
          </ac:spMkLst>
        </pc:spChg>
        <pc:spChg chg="mod">
          <ac:chgData name="Chen Lucy, GFTIOV, BCOM" userId="015eeb7a-1a87-4ec1-9e0c-2a98ac5d916e" providerId="ADAL" clId="{12787371-45F9-4999-BA3C-FE90ED58C552}" dt="2023-06-15T05:12:34.013" v="541" actId="1076"/>
          <ac:spMkLst>
            <pc:docMk/>
            <pc:sldMk cId="2618505531" sldId="2147470810"/>
            <ac:spMk id="19" creationId="{00000000-0000-0000-0000-000000000000}"/>
          </ac:spMkLst>
        </pc:spChg>
        <pc:spChg chg="mod">
          <ac:chgData name="Chen Lucy, GFTIOV, BCOM" userId="015eeb7a-1a87-4ec1-9e0c-2a98ac5d916e" providerId="ADAL" clId="{12787371-45F9-4999-BA3C-FE90ED58C552}" dt="2023-06-15T05:12:53.096" v="545" actId="1076"/>
          <ac:spMkLst>
            <pc:docMk/>
            <pc:sldMk cId="2618505531" sldId="2147470810"/>
            <ac:spMk id="20" creationId="{00000000-0000-0000-0000-000000000000}"/>
          </ac:spMkLst>
        </pc:spChg>
        <pc:spChg chg="mod">
          <ac:chgData name="Chen Lucy, GFTIOV, BCOM" userId="015eeb7a-1a87-4ec1-9e0c-2a98ac5d916e" providerId="ADAL" clId="{12787371-45F9-4999-BA3C-FE90ED58C552}" dt="2023-06-15T05:12:34.013" v="541" actId="1076"/>
          <ac:spMkLst>
            <pc:docMk/>
            <pc:sldMk cId="2618505531" sldId="2147470810"/>
            <ac:spMk id="21" creationId="{00000000-0000-0000-0000-000000000000}"/>
          </ac:spMkLst>
        </pc:spChg>
        <pc:picChg chg="mod">
          <ac:chgData name="Chen Lucy, GFTIOV, BCOM" userId="015eeb7a-1a87-4ec1-9e0c-2a98ac5d916e" providerId="ADAL" clId="{12787371-45F9-4999-BA3C-FE90ED58C552}" dt="2023-06-15T05:13:55.384" v="557" actId="1076"/>
          <ac:picMkLst>
            <pc:docMk/>
            <pc:sldMk cId="2618505531" sldId="2147470810"/>
            <ac:picMk id="2" creationId="{F88C744B-303F-A96B-F6CD-2C58AE690B90}"/>
          </ac:picMkLst>
        </pc:picChg>
        <pc:picChg chg="mod">
          <ac:chgData name="Chen Lucy, GFTIOV, BCOM" userId="015eeb7a-1a87-4ec1-9e0c-2a98ac5d916e" providerId="ADAL" clId="{12787371-45F9-4999-BA3C-FE90ED58C552}" dt="2023-06-15T05:12:58.715" v="546" actId="14100"/>
          <ac:picMkLst>
            <pc:docMk/>
            <pc:sldMk cId="2618505531" sldId="2147470810"/>
            <ac:picMk id="9" creationId="{00000000-0000-0000-0000-000000000000}"/>
          </ac:picMkLst>
        </pc:picChg>
        <pc:picChg chg="mod">
          <ac:chgData name="Chen Lucy, GFTIOV, BCOM" userId="015eeb7a-1a87-4ec1-9e0c-2a98ac5d916e" providerId="ADAL" clId="{12787371-45F9-4999-BA3C-FE90ED58C552}" dt="2023-06-15T05:14:04.314" v="558" actId="14100"/>
          <ac:picMkLst>
            <pc:docMk/>
            <pc:sldMk cId="2618505531" sldId="2147470810"/>
            <ac:picMk id="31748" creationId="{00000000-0000-0000-0000-000000000000}"/>
          </ac:picMkLst>
        </pc:picChg>
      </pc:sldChg>
      <pc:sldMasterChg chg="add del addSldLayout delSldLayout">
        <pc:chgData name="Chen Lucy, GFTIOV, BCOM" userId="015eeb7a-1a87-4ec1-9e0c-2a98ac5d916e" providerId="ADAL" clId="{12787371-45F9-4999-BA3C-FE90ED58C552}" dt="2023-06-15T03:52:39.365" v="296" actId="47"/>
        <pc:sldMasterMkLst>
          <pc:docMk/>
          <pc:sldMasterMk cId="2334880213" sldId="2147483754"/>
        </pc:sldMasterMkLst>
        <pc:sldLayoutChg chg="add del">
          <pc:chgData name="Chen Lucy, GFTIOV, BCOM" userId="015eeb7a-1a87-4ec1-9e0c-2a98ac5d916e" providerId="ADAL" clId="{12787371-45F9-4999-BA3C-FE90ED58C552}" dt="2023-06-15T03:44:38.146" v="194" actId="700"/>
          <pc:sldLayoutMkLst>
            <pc:docMk/>
            <pc:sldMasterMk cId="2334880213" sldId="2147483754"/>
            <pc:sldLayoutMk cId="1698069937" sldId="2147483755"/>
          </pc:sldLayoutMkLst>
        </pc:sldLayoutChg>
        <pc:sldLayoutChg chg="add del">
          <pc:chgData name="Chen Lucy, GFTIOV, BCOM" userId="015eeb7a-1a87-4ec1-9e0c-2a98ac5d916e" providerId="ADAL" clId="{12787371-45F9-4999-BA3C-FE90ED58C552}" dt="2023-06-15T03:44:38.146" v="194" actId="700"/>
          <pc:sldLayoutMkLst>
            <pc:docMk/>
            <pc:sldMasterMk cId="2334880213" sldId="2147483754"/>
            <pc:sldLayoutMk cId="2002798169" sldId="2147483756"/>
          </pc:sldLayoutMkLst>
        </pc:sldLayoutChg>
        <pc:sldLayoutChg chg="add del">
          <pc:chgData name="Chen Lucy, GFTIOV, BCOM" userId="015eeb7a-1a87-4ec1-9e0c-2a98ac5d916e" providerId="ADAL" clId="{12787371-45F9-4999-BA3C-FE90ED58C552}" dt="2023-06-15T03:44:38.146" v="194" actId="700"/>
          <pc:sldLayoutMkLst>
            <pc:docMk/>
            <pc:sldMasterMk cId="2334880213" sldId="2147483754"/>
            <pc:sldLayoutMk cId="1453288641" sldId="2147483757"/>
          </pc:sldLayoutMkLst>
        </pc:sldLayoutChg>
        <pc:sldLayoutChg chg="add del">
          <pc:chgData name="Chen Lucy, GFTIOV, BCOM" userId="015eeb7a-1a87-4ec1-9e0c-2a98ac5d916e" providerId="ADAL" clId="{12787371-45F9-4999-BA3C-FE90ED58C552}" dt="2023-06-15T03:44:38.146" v="194" actId="700"/>
          <pc:sldLayoutMkLst>
            <pc:docMk/>
            <pc:sldMasterMk cId="2334880213" sldId="2147483754"/>
            <pc:sldLayoutMk cId="2160361543" sldId="2147483758"/>
          </pc:sldLayoutMkLst>
        </pc:sldLayoutChg>
        <pc:sldLayoutChg chg="add del">
          <pc:chgData name="Chen Lucy, GFTIOV, BCOM" userId="015eeb7a-1a87-4ec1-9e0c-2a98ac5d916e" providerId="ADAL" clId="{12787371-45F9-4999-BA3C-FE90ED58C552}" dt="2023-06-15T03:44:38.146" v="194" actId="700"/>
          <pc:sldLayoutMkLst>
            <pc:docMk/>
            <pc:sldMasterMk cId="2334880213" sldId="2147483754"/>
            <pc:sldLayoutMk cId="347736661" sldId="2147483759"/>
          </pc:sldLayoutMkLst>
        </pc:sldLayoutChg>
        <pc:sldLayoutChg chg="add del">
          <pc:chgData name="Chen Lucy, GFTIOV, BCOM" userId="015eeb7a-1a87-4ec1-9e0c-2a98ac5d916e" providerId="ADAL" clId="{12787371-45F9-4999-BA3C-FE90ED58C552}" dt="2023-06-15T03:44:38.146" v="194" actId="700"/>
          <pc:sldLayoutMkLst>
            <pc:docMk/>
            <pc:sldMasterMk cId="2334880213" sldId="2147483754"/>
            <pc:sldLayoutMk cId="1634934223" sldId="2147483760"/>
          </pc:sldLayoutMkLst>
        </pc:sldLayoutChg>
        <pc:sldLayoutChg chg="add del">
          <pc:chgData name="Chen Lucy, GFTIOV, BCOM" userId="015eeb7a-1a87-4ec1-9e0c-2a98ac5d916e" providerId="ADAL" clId="{12787371-45F9-4999-BA3C-FE90ED58C552}" dt="2023-06-15T03:44:38.146" v="194" actId="700"/>
          <pc:sldLayoutMkLst>
            <pc:docMk/>
            <pc:sldMasterMk cId="2334880213" sldId="2147483754"/>
            <pc:sldLayoutMk cId="3556864557" sldId="2147483761"/>
          </pc:sldLayoutMkLst>
        </pc:sldLayoutChg>
        <pc:sldLayoutChg chg="add del">
          <pc:chgData name="Chen Lucy, GFTIOV, BCOM" userId="015eeb7a-1a87-4ec1-9e0c-2a98ac5d916e" providerId="ADAL" clId="{12787371-45F9-4999-BA3C-FE90ED58C552}" dt="2023-06-15T03:44:38.146" v="194" actId="700"/>
          <pc:sldLayoutMkLst>
            <pc:docMk/>
            <pc:sldMasterMk cId="2334880213" sldId="2147483754"/>
            <pc:sldLayoutMk cId="1524263186" sldId="2147483762"/>
          </pc:sldLayoutMkLst>
        </pc:sldLayoutChg>
        <pc:sldLayoutChg chg="add del">
          <pc:chgData name="Chen Lucy, GFTIOV, BCOM" userId="015eeb7a-1a87-4ec1-9e0c-2a98ac5d916e" providerId="ADAL" clId="{12787371-45F9-4999-BA3C-FE90ED58C552}" dt="2023-06-15T03:44:38.146" v="194" actId="700"/>
          <pc:sldLayoutMkLst>
            <pc:docMk/>
            <pc:sldMasterMk cId="2334880213" sldId="2147483754"/>
            <pc:sldLayoutMk cId="2227919869" sldId="2147483763"/>
          </pc:sldLayoutMkLst>
        </pc:sldLayoutChg>
        <pc:sldLayoutChg chg="add del">
          <pc:chgData name="Chen Lucy, GFTIOV, BCOM" userId="015eeb7a-1a87-4ec1-9e0c-2a98ac5d916e" providerId="ADAL" clId="{12787371-45F9-4999-BA3C-FE90ED58C552}" dt="2023-06-15T03:44:38.146" v="194" actId="700"/>
          <pc:sldLayoutMkLst>
            <pc:docMk/>
            <pc:sldMasterMk cId="2334880213" sldId="2147483754"/>
            <pc:sldLayoutMk cId="3229739365" sldId="2147483764"/>
          </pc:sldLayoutMkLst>
        </pc:sldLayoutChg>
        <pc:sldLayoutChg chg="add del">
          <pc:chgData name="Chen Lucy, GFTIOV, BCOM" userId="015eeb7a-1a87-4ec1-9e0c-2a98ac5d916e" providerId="ADAL" clId="{12787371-45F9-4999-BA3C-FE90ED58C552}" dt="2023-06-15T03:44:38.146" v="194" actId="700"/>
          <pc:sldLayoutMkLst>
            <pc:docMk/>
            <pc:sldMasterMk cId="2334880213" sldId="2147483754"/>
            <pc:sldLayoutMk cId="253006994" sldId="2147483765"/>
          </pc:sldLayoutMkLst>
        </pc:sldLayoutChg>
        <pc:sldLayoutChg chg="add del">
          <pc:chgData name="Chen Lucy, GFTIOV, BCOM" userId="015eeb7a-1a87-4ec1-9e0c-2a98ac5d916e" providerId="ADAL" clId="{12787371-45F9-4999-BA3C-FE90ED58C552}" dt="2023-06-15T03:44:38.146" v="194" actId="700"/>
          <pc:sldLayoutMkLst>
            <pc:docMk/>
            <pc:sldMasterMk cId="2334880213" sldId="2147483754"/>
            <pc:sldLayoutMk cId="2220957853" sldId="2147483766"/>
          </pc:sldLayoutMkLst>
        </pc:sldLayoutChg>
        <pc:sldLayoutChg chg="add del">
          <pc:chgData name="Chen Lucy, GFTIOV, BCOM" userId="015eeb7a-1a87-4ec1-9e0c-2a98ac5d916e" providerId="ADAL" clId="{12787371-45F9-4999-BA3C-FE90ED58C552}" dt="2023-06-15T03:44:38.146" v="194" actId="700"/>
          <pc:sldLayoutMkLst>
            <pc:docMk/>
            <pc:sldMasterMk cId="2334880213" sldId="2147483754"/>
            <pc:sldLayoutMk cId="2511272559" sldId="2147483767"/>
          </pc:sldLayoutMkLst>
        </pc:sldLayoutChg>
        <pc:sldLayoutChg chg="del">
          <pc:chgData name="Chen Lucy, GFTIOV, BCOM" userId="015eeb7a-1a87-4ec1-9e0c-2a98ac5d916e" providerId="ADAL" clId="{12787371-45F9-4999-BA3C-FE90ED58C552}" dt="2023-06-15T03:52:39.365" v="296" actId="47"/>
          <pc:sldLayoutMkLst>
            <pc:docMk/>
            <pc:sldMasterMk cId="2334880213" sldId="2147483754"/>
            <pc:sldLayoutMk cId="3077723881" sldId="2147483768"/>
          </pc:sldLayoutMkLst>
        </pc:sldLayoutChg>
      </pc:sldMasterChg>
    </pc:docChg>
  </pc:docChgLst>
  <pc:docChgLst>
    <pc:chgData name="Zhu Arena, GFTIOV, BCOM" userId="a49f412c-db83-45d3-9142-dc597ff7d65b" providerId="ADAL" clId="{46FD2C16-79FF-4FFE-BCE3-742826F5B8DC}"/>
    <pc:docChg chg="undo redo custSel addSld delSld modSld sldOrd delMainMaster modMainMaster replTag delTag">
      <pc:chgData name="Zhu Arena, GFTIOV, BCOM" userId="a49f412c-db83-45d3-9142-dc597ff7d65b" providerId="ADAL" clId="{46FD2C16-79FF-4FFE-BCE3-742826F5B8DC}" dt="2023-06-16T03:36:13.097" v="6893" actId="207"/>
      <pc:docMkLst>
        <pc:docMk/>
      </pc:docMkLst>
      <pc:sldChg chg="modSp mod">
        <pc:chgData name="Zhu Arena, GFTIOV, BCOM" userId="a49f412c-db83-45d3-9142-dc597ff7d65b" providerId="ADAL" clId="{46FD2C16-79FF-4FFE-BCE3-742826F5B8DC}" dt="2023-06-16T03:34:09.800" v="6864" actId="20577"/>
        <pc:sldMkLst>
          <pc:docMk/>
          <pc:sldMk cId="981649606" sldId="272"/>
        </pc:sldMkLst>
        <pc:spChg chg="mod">
          <ac:chgData name="Zhu Arena, GFTIOV, BCOM" userId="a49f412c-db83-45d3-9142-dc597ff7d65b" providerId="ADAL" clId="{46FD2C16-79FF-4FFE-BCE3-742826F5B8DC}" dt="2023-06-15T08:00:17.261" v="4999"/>
          <ac:spMkLst>
            <pc:docMk/>
            <pc:sldMk cId="981649606" sldId="272"/>
            <ac:spMk id="2" creationId="{41045F82-3F2E-4F8D-8D0C-898F1EAC2EFD}"/>
          </ac:spMkLst>
        </pc:spChg>
        <pc:spChg chg="mod">
          <ac:chgData name="Zhu Arena, GFTIOV, BCOM" userId="a49f412c-db83-45d3-9142-dc597ff7d65b" providerId="ADAL" clId="{46FD2C16-79FF-4FFE-BCE3-742826F5B8DC}" dt="2023-06-15T08:00:17.261" v="4999"/>
          <ac:spMkLst>
            <pc:docMk/>
            <pc:sldMk cId="981649606" sldId="272"/>
            <ac:spMk id="3" creationId="{00DF8056-6B85-4A91-BC4B-8C8863814800}"/>
          </ac:spMkLst>
        </pc:spChg>
        <pc:spChg chg="mod">
          <ac:chgData name="Zhu Arena, GFTIOV, BCOM" userId="a49f412c-db83-45d3-9142-dc597ff7d65b" providerId="ADAL" clId="{46FD2C16-79FF-4FFE-BCE3-742826F5B8DC}" dt="2023-06-16T03:34:09.800" v="6864" actId="20577"/>
          <ac:spMkLst>
            <pc:docMk/>
            <pc:sldMk cId="981649606" sldId="272"/>
            <ac:spMk id="4" creationId="{C8532893-EE03-89AD-7507-E6052EA2217D}"/>
          </ac:spMkLst>
        </pc:spChg>
        <pc:spChg chg="mod">
          <ac:chgData name="Zhu Arena, GFTIOV, BCOM" userId="a49f412c-db83-45d3-9142-dc597ff7d65b" providerId="ADAL" clId="{46FD2C16-79FF-4FFE-BCE3-742826F5B8DC}" dt="2023-06-15T08:00:17.261" v="4999"/>
          <ac:spMkLst>
            <pc:docMk/>
            <pc:sldMk cId="981649606" sldId="272"/>
            <ac:spMk id="6" creationId="{59B695E8-2147-2579-FC89-B0E4B5557C2A}"/>
          </ac:spMkLst>
        </pc:spChg>
      </pc:sldChg>
      <pc:sldChg chg="delSp modSp add del mod modShow">
        <pc:chgData name="Zhu Arena, GFTIOV, BCOM" userId="a49f412c-db83-45d3-9142-dc597ff7d65b" providerId="ADAL" clId="{46FD2C16-79FF-4FFE-BCE3-742826F5B8DC}" dt="2023-06-14T12:46:41.560" v="1789" actId="47"/>
        <pc:sldMkLst>
          <pc:docMk/>
          <pc:sldMk cId="0" sldId="279"/>
        </pc:sldMkLst>
        <pc:spChg chg="del">
          <ac:chgData name="Zhu Arena, GFTIOV, BCOM" userId="a49f412c-db83-45d3-9142-dc597ff7d65b" providerId="ADAL" clId="{46FD2C16-79FF-4FFE-BCE3-742826F5B8DC}" dt="2023-06-14T12:46:09.945" v="1787" actId="478"/>
          <ac:spMkLst>
            <pc:docMk/>
            <pc:sldMk cId="0" sldId="279"/>
            <ac:spMk id="8" creationId="{00000000-0000-0000-0000-000000000000}"/>
          </ac:spMkLst>
        </pc:spChg>
        <pc:spChg chg="del">
          <ac:chgData name="Zhu Arena, GFTIOV, BCOM" userId="a49f412c-db83-45d3-9142-dc597ff7d65b" providerId="ADAL" clId="{46FD2C16-79FF-4FFE-BCE3-742826F5B8DC}" dt="2023-06-14T12:46:02.011" v="1784" actId="478"/>
          <ac:spMkLst>
            <pc:docMk/>
            <pc:sldMk cId="0" sldId="279"/>
            <ac:spMk id="9" creationId="{00000000-0000-0000-0000-000000000000}"/>
          </ac:spMkLst>
        </pc:spChg>
        <pc:spChg chg="del">
          <ac:chgData name="Zhu Arena, GFTIOV, BCOM" userId="a49f412c-db83-45d3-9142-dc597ff7d65b" providerId="ADAL" clId="{46FD2C16-79FF-4FFE-BCE3-742826F5B8DC}" dt="2023-06-14T12:46:13.716" v="1788" actId="478"/>
          <ac:spMkLst>
            <pc:docMk/>
            <pc:sldMk cId="0" sldId="279"/>
            <ac:spMk id="10" creationId="{00000000-0000-0000-0000-000000000000}"/>
          </ac:spMkLst>
        </pc:spChg>
        <pc:spChg chg="del">
          <ac:chgData name="Zhu Arena, GFTIOV, BCOM" userId="a49f412c-db83-45d3-9142-dc597ff7d65b" providerId="ADAL" clId="{46FD2C16-79FF-4FFE-BCE3-742826F5B8DC}" dt="2023-06-14T12:46:07.038" v="1786" actId="478"/>
          <ac:spMkLst>
            <pc:docMk/>
            <pc:sldMk cId="0" sldId="279"/>
            <ac:spMk id="11" creationId="{00000000-0000-0000-0000-000000000000}"/>
          </ac:spMkLst>
        </pc:spChg>
        <pc:spChg chg="del">
          <ac:chgData name="Zhu Arena, GFTIOV, BCOM" userId="a49f412c-db83-45d3-9142-dc597ff7d65b" providerId="ADAL" clId="{46FD2C16-79FF-4FFE-BCE3-742826F5B8DC}" dt="2023-06-14T12:46:04.444" v="1785" actId="478"/>
          <ac:spMkLst>
            <pc:docMk/>
            <pc:sldMk cId="0" sldId="279"/>
            <ac:spMk id="12" creationId="{00000000-0000-0000-0000-000000000000}"/>
          </ac:spMkLst>
        </pc:spChg>
        <pc:spChg chg="mod">
          <ac:chgData name="Zhu Arena, GFTIOV, BCOM" userId="a49f412c-db83-45d3-9142-dc597ff7d65b" providerId="ADAL" clId="{46FD2C16-79FF-4FFE-BCE3-742826F5B8DC}" dt="2023-06-14T12:45:44.325" v="1780" actId="207"/>
          <ac:spMkLst>
            <pc:docMk/>
            <pc:sldMk cId="0" sldId="279"/>
            <ac:spMk id="160770" creationId="{00000000-0000-0000-0000-000000000000}"/>
          </ac:spMkLst>
        </pc:spChg>
        <pc:spChg chg="mod">
          <ac:chgData name="Zhu Arena, GFTIOV, BCOM" userId="a49f412c-db83-45d3-9142-dc597ff7d65b" providerId="ADAL" clId="{46FD2C16-79FF-4FFE-BCE3-742826F5B8DC}" dt="2023-06-14T12:45:59.569" v="1783" actId="207"/>
          <ac:spMkLst>
            <pc:docMk/>
            <pc:sldMk cId="0" sldId="279"/>
            <ac:spMk id="160771" creationId="{00000000-0000-0000-0000-000000000000}"/>
          </ac:spMkLst>
        </pc:spChg>
      </pc:sldChg>
      <pc:sldChg chg="del">
        <pc:chgData name="Zhu Arena, GFTIOV, BCOM" userId="a49f412c-db83-45d3-9142-dc597ff7d65b" providerId="ADAL" clId="{46FD2C16-79FF-4FFE-BCE3-742826F5B8DC}" dt="2023-06-15T05:15:35.461" v="3293" actId="47"/>
        <pc:sldMkLst>
          <pc:docMk/>
          <pc:sldMk cId="3406835754" sldId="310"/>
        </pc:sldMkLst>
      </pc:sldChg>
      <pc:sldChg chg="del">
        <pc:chgData name="Zhu Arena, GFTIOV, BCOM" userId="a49f412c-db83-45d3-9142-dc597ff7d65b" providerId="ADAL" clId="{46FD2C16-79FF-4FFE-BCE3-742826F5B8DC}" dt="2023-06-14T11:40:45.608" v="1307" actId="47"/>
        <pc:sldMkLst>
          <pc:docMk/>
          <pc:sldMk cId="3551752779" sldId="455"/>
        </pc:sldMkLst>
      </pc:sldChg>
      <pc:sldChg chg="modSp add del mod">
        <pc:chgData name="Zhu Arena, GFTIOV, BCOM" userId="a49f412c-db83-45d3-9142-dc597ff7d65b" providerId="ADAL" clId="{46FD2C16-79FF-4FFE-BCE3-742826F5B8DC}" dt="2023-06-14T13:20:05.152" v="2344" actId="47"/>
        <pc:sldMkLst>
          <pc:docMk/>
          <pc:sldMk cId="4210942265" sldId="471"/>
        </pc:sldMkLst>
        <pc:spChg chg="mod">
          <ac:chgData name="Zhu Arena, GFTIOV, BCOM" userId="a49f412c-db83-45d3-9142-dc597ff7d65b" providerId="ADAL" clId="{46FD2C16-79FF-4FFE-BCE3-742826F5B8DC}" dt="2023-06-14T08:54:08.283" v="445" actId="20577"/>
          <ac:spMkLst>
            <pc:docMk/>
            <pc:sldMk cId="4210942265" sldId="471"/>
            <ac:spMk id="2" creationId="{E7F7CE69-0863-46E7-3C8B-35142B329FAE}"/>
          </ac:spMkLst>
        </pc:spChg>
      </pc:sldChg>
      <pc:sldChg chg="add del mod modShow">
        <pc:chgData name="Zhu Arena, GFTIOV, BCOM" userId="a49f412c-db83-45d3-9142-dc597ff7d65b" providerId="ADAL" clId="{46FD2C16-79FF-4FFE-BCE3-742826F5B8DC}" dt="2023-06-14T09:24:36.415" v="1297" actId="47"/>
        <pc:sldMkLst>
          <pc:docMk/>
          <pc:sldMk cId="3385592778" sldId="473"/>
        </pc:sldMkLst>
      </pc:sldChg>
      <pc:sldChg chg="addSp delSp modSp add mod ord">
        <pc:chgData name="Zhu Arena, GFTIOV, BCOM" userId="a49f412c-db83-45d3-9142-dc597ff7d65b" providerId="ADAL" clId="{46FD2C16-79FF-4FFE-BCE3-742826F5B8DC}" dt="2023-06-16T02:51:15.238" v="6270" actId="20577"/>
        <pc:sldMkLst>
          <pc:docMk/>
          <pc:sldMk cId="3686938840" sldId="474"/>
        </pc:sldMkLst>
        <pc:spChg chg="mod">
          <ac:chgData name="Zhu Arena, GFTIOV, BCOM" userId="a49f412c-db83-45d3-9142-dc597ff7d65b" providerId="ADAL" clId="{46FD2C16-79FF-4FFE-BCE3-742826F5B8DC}" dt="2023-06-15T08:00:17.261" v="5001"/>
          <ac:spMkLst>
            <pc:docMk/>
            <pc:sldMk cId="3686938840" sldId="474"/>
            <ac:spMk id="2" creationId="{00000000-0000-0000-0000-000000000000}"/>
          </ac:spMkLst>
        </pc:spChg>
        <pc:spChg chg="mod">
          <ac:chgData name="Zhu Arena, GFTIOV, BCOM" userId="a49f412c-db83-45d3-9142-dc597ff7d65b" providerId="ADAL" clId="{46FD2C16-79FF-4FFE-BCE3-742826F5B8DC}" dt="2023-06-15T08:00:17.205" v="4924" actId="790"/>
          <ac:spMkLst>
            <pc:docMk/>
            <pc:sldMk cId="3686938840" sldId="474"/>
            <ac:spMk id="3" creationId="{00000000-0000-0000-0000-000000000000}"/>
          </ac:spMkLst>
        </pc:spChg>
        <pc:spChg chg="add mod ord">
          <ac:chgData name="Zhu Arena, GFTIOV, BCOM" userId="a49f412c-db83-45d3-9142-dc597ff7d65b" providerId="ADAL" clId="{46FD2C16-79FF-4FFE-BCE3-742826F5B8DC}" dt="2023-06-15T08:00:17.197" v="4914" actId="790"/>
          <ac:spMkLst>
            <pc:docMk/>
            <pc:sldMk cId="3686938840" sldId="474"/>
            <ac:spMk id="4" creationId="{C229EC12-3380-FFB7-45EE-427E719EAFC2}"/>
          </ac:spMkLst>
        </pc:spChg>
        <pc:spChg chg="mod">
          <ac:chgData name="Zhu Arena, GFTIOV, BCOM" userId="a49f412c-db83-45d3-9142-dc597ff7d65b" providerId="ADAL" clId="{46FD2C16-79FF-4FFE-BCE3-742826F5B8DC}" dt="2023-06-16T02:51:15.238" v="6270" actId="20577"/>
          <ac:spMkLst>
            <pc:docMk/>
            <pc:sldMk cId="3686938840" sldId="474"/>
            <ac:spMk id="6" creationId="{00000000-0000-0000-0000-000000000000}"/>
          </ac:spMkLst>
        </pc:spChg>
        <pc:spChg chg="del mod">
          <ac:chgData name="Zhu Arena, GFTIOV, BCOM" userId="a49f412c-db83-45d3-9142-dc597ff7d65b" providerId="ADAL" clId="{46FD2C16-79FF-4FFE-BCE3-742826F5B8DC}" dt="2023-06-14T13:29:48.747" v="2460" actId="478"/>
          <ac:spMkLst>
            <pc:docMk/>
            <pc:sldMk cId="3686938840" sldId="474"/>
            <ac:spMk id="7" creationId="{00000000-0000-0000-0000-000000000000}"/>
          </ac:spMkLst>
        </pc:spChg>
        <pc:spChg chg="add del mod">
          <ac:chgData name="Zhu Arena, GFTIOV, BCOM" userId="a49f412c-db83-45d3-9142-dc597ff7d65b" providerId="ADAL" clId="{46FD2C16-79FF-4FFE-BCE3-742826F5B8DC}" dt="2023-06-14T13:27:26.874" v="2414" actId="21"/>
          <ac:spMkLst>
            <pc:docMk/>
            <pc:sldMk cId="3686938840" sldId="474"/>
            <ac:spMk id="20" creationId="{00000000-0000-0000-0000-000000000000}"/>
          </ac:spMkLst>
        </pc:spChg>
        <pc:spChg chg="mod">
          <ac:chgData name="Zhu Arena, GFTIOV, BCOM" userId="a49f412c-db83-45d3-9142-dc597ff7d65b" providerId="ADAL" clId="{46FD2C16-79FF-4FFE-BCE3-742826F5B8DC}" dt="2023-06-15T08:00:17.197" v="4918" actId="790"/>
          <ac:spMkLst>
            <pc:docMk/>
            <pc:sldMk cId="3686938840" sldId="474"/>
            <ac:spMk id="28" creationId="{00000000-0000-0000-0000-000000000000}"/>
          </ac:spMkLst>
        </pc:spChg>
        <pc:spChg chg="mod">
          <ac:chgData name="Zhu Arena, GFTIOV, BCOM" userId="a49f412c-db83-45d3-9142-dc597ff7d65b" providerId="ADAL" clId="{46FD2C16-79FF-4FFE-BCE3-742826F5B8DC}" dt="2023-06-15T08:00:17.197" v="4919" actId="790"/>
          <ac:spMkLst>
            <pc:docMk/>
            <pc:sldMk cId="3686938840" sldId="474"/>
            <ac:spMk id="29" creationId="{00000000-0000-0000-0000-000000000000}"/>
          </ac:spMkLst>
        </pc:spChg>
        <pc:spChg chg="mod ord">
          <ac:chgData name="Zhu Arena, GFTIOV, BCOM" userId="a49f412c-db83-45d3-9142-dc597ff7d65b" providerId="ADAL" clId="{46FD2C16-79FF-4FFE-BCE3-742826F5B8DC}" dt="2023-06-15T08:00:17.197" v="4913" actId="790"/>
          <ac:spMkLst>
            <pc:docMk/>
            <pc:sldMk cId="3686938840" sldId="474"/>
            <ac:spMk id="34" creationId="{00000000-0000-0000-0000-000000000000}"/>
          </ac:spMkLst>
        </pc:spChg>
        <pc:spChg chg="mod">
          <ac:chgData name="Zhu Arena, GFTIOV, BCOM" userId="a49f412c-db83-45d3-9142-dc597ff7d65b" providerId="ADAL" clId="{46FD2C16-79FF-4FFE-BCE3-742826F5B8DC}" dt="2023-06-15T08:00:17.205" v="4920"/>
          <ac:spMkLst>
            <pc:docMk/>
            <pc:sldMk cId="3686938840" sldId="474"/>
            <ac:spMk id="41" creationId="{00000000-0000-0000-0000-000000000000}"/>
          </ac:spMkLst>
        </pc:spChg>
        <pc:spChg chg="mod">
          <ac:chgData name="Zhu Arena, GFTIOV, BCOM" userId="a49f412c-db83-45d3-9142-dc597ff7d65b" providerId="ADAL" clId="{46FD2C16-79FF-4FFE-BCE3-742826F5B8DC}" dt="2023-06-15T08:00:17.205" v="4921"/>
          <ac:spMkLst>
            <pc:docMk/>
            <pc:sldMk cId="3686938840" sldId="474"/>
            <ac:spMk id="42" creationId="{00000000-0000-0000-0000-000000000000}"/>
          </ac:spMkLst>
        </pc:spChg>
        <pc:spChg chg="mod">
          <ac:chgData name="Zhu Arena, GFTIOV, BCOM" userId="a49f412c-db83-45d3-9142-dc597ff7d65b" providerId="ADAL" clId="{46FD2C16-79FF-4FFE-BCE3-742826F5B8DC}" dt="2023-06-15T08:00:17.205" v="4922"/>
          <ac:spMkLst>
            <pc:docMk/>
            <pc:sldMk cId="3686938840" sldId="474"/>
            <ac:spMk id="43" creationId="{00000000-0000-0000-0000-000000000000}"/>
          </ac:spMkLst>
        </pc:spChg>
        <pc:spChg chg="mod">
          <ac:chgData name="Zhu Arena, GFTIOV, BCOM" userId="a49f412c-db83-45d3-9142-dc597ff7d65b" providerId="ADAL" clId="{46FD2C16-79FF-4FFE-BCE3-742826F5B8DC}" dt="2023-06-15T08:00:17.205" v="4923"/>
          <ac:spMkLst>
            <pc:docMk/>
            <pc:sldMk cId="3686938840" sldId="474"/>
            <ac:spMk id="44" creationId="{00000000-0000-0000-0000-000000000000}"/>
          </ac:spMkLst>
        </pc:spChg>
        <pc:spChg chg="mod">
          <ac:chgData name="Zhu Arena, GFTIOV, BCOM" userId="a49f412c-db83-45d3-9142-dc597ff7d65b" providerId="ADAL" clId="{46FD2C16-79FF-4FFE-BCE3-742826F5B8DC}" dt="2023-06-15T08:00:17.197" v="4915" actId="790"/>
          <ac:spMkLst>
            <pc:docMk/>
            <pc:sldMk cId="3686938840" sldId="474"/>
            <ac:spMk id="59" creationId="{00000000-0000-0000-0000-000000000000}"/>
          </ac:spMkLst>
        </pc:spChg>
        <pc:picChg chg="mod modCrop">
          <ac:chgData name="Zhu Arena, GFTIOV, BCOM" userId="a49f412c-db83-45d3-9142-dc597ff7d65b" providerId="ADAL" clId="{46FD2C16-79FF-4FFE-BCE3-742826F5B8DC}" dt="2023-06-15T10:29:27.616" v="6204" actId="1076"/>
          <ac:picMkLst>
            <pc:docMk/>
            <pc:sldMk cId="3686938840" sldId="474"/>
            <ac:picMk id="11" creationId="{00000000-0000-0000-0000-000000000000}"/>
          </ac:picMkLst>
        </pc:picChg>
      </pc:sldChg>
      <pc:sldChg chg="del">
        <pc:chgData name="Zhu Arena, GFTIOV, BCOM" userId="a49f412c-db83-45d3-9142-dc597ff7d65b" providerId="ADAL" clId="{46FD2C16-79FF-4FFE-BCE3-742826F5B8DC}" dt="2023-06-14T08:59:05.295" v="553" actId="47"/>
        <pc:sldMkLst>
          <pc:docMk/>
          <pc:sldMk cId="228686590" sldId="476"/>
        </pc:sldMkLst>
      </pc:sldChg>
      <pc:sldChg chg="del">
        <pc:chgData name="Zhu Arena, GFTIOV, BCOM" userId="a49f412c-db83-45d3-9142-dc597ff7d65b" providerId="ADAL" clId="{46FD2C16-79FF-4FFE-BCE3-742826F5B8DC}" dt="2023-06-14T08:59:05.295" v="553" actId="47"/>
        <pc:sldMkLst>
          <pc:docMk/>
          <pc:sldMk cId="125164596" sldId="479"/>
        </pc:sldMkLst>
      </pc:sldChg>
      <pc:sldChg chg="addSp modSp del mod modNotesTx">
        <pc:chgData name="Zhu Arena, GFTIOV, BCOM" userId="a49f412c-db83-45d3-9142-dc597ff7d65b" providerId="ADAL" clId="{46FD2C16-79FF-4FFE-BCE3-742826F5B8DC}" dt="2023-06-14T11:59:54.099" v="1361" actId="47"/>
        <pc:sldMkLst>
          <pc:docMk/>
          <pc:sldMk cId="868910039" sldId="484"/>
        </pc:sldMkLst>
        <pc:spChg chg="add mod">
          <ac:chgData name="Zhu Arena, GFTIOV, BCOM" userId="a49f412c-db83-45d3-9142-dc597ff7d65b" providerId="ADAL" clId="{46FD2C16-79FF-4FFE-BCE3-742826F5B8DC}" dt="2023-06-14T09:21:58.201" v="1046" actId="207"/>
          <ac:spMkLst>
            <pc:docMk/>
            <pc:sldMk cId="868910039" sldId="484"/>
            <ac:spMk id="5" creationId="{223E8DE2-40BE-0673-3905-950B7D32A1C8}"/>
          </ac:spMkLst>
        </pc:spChg>
      </pc:sldChg>
      <pc:sldChg chg="addSp modSp add mod">
        <pc:chgData name="Zhu Arena, GFTIOV, BCOM" userId="a49f412c-db83-45d3-9142-dc597ff7d65b" providerId="ADAL" clId="{46FD2C16-79FF-4FFE-BCE3-742826F5B8DC}" dt="2023-06-15T08:00:17.261" v="5000"/>
        <pc:sldMkLst>
          <pc:docMk/>
          <pc:sldMk cId="1175381119" sldId="487"/>
        </pc:sldMkLst>
        <pc:spChg chg="mod">
          <ac:chgData name="Zhu Arena, GFTIOV, BCOM" userId="a49f412c-db83-45d3-9142-dc597ff7d65b" providerId="ADAL" clId="{46FD2C16-79FF-4FFE-BCE3-742826F5B8DC}" dt="2023-06-15T08:00:17.261" v="5000"/>
          <ac:spMkLst>
            <pc:docMk/>
            <pc:sldMk cId="1175381119" sldId="487"/>
            <ac:spMk id="2" creationId="{00000000-0000-0000-0000-000000000000}"/>
          </ac:spMkLst>
        </pc:spChg>
        <pc:spChg chg="add mod">
          <ac:chgData name="Zhu Arena, GFTIOV, BCOM" userId="a49f412c-db83-45d3-9142-dc597ff7d65b" providerId="ADAL" clId="{46FD2C16-79FF-4FFE-BCE3-742826F5B8DC}" dt="2023-06-15T08:00:17.261" v="5000"/>
          <ac:spMkLst>
            <pc:docMk/>
            <pc:sldMk cId="1175381119" sldId="487"/>
            <ac:spMk id="3" creationId="{8CF83964-7B76-5F31-524F-40F1DC77263D}"/>
          </ac:spMkLst>
        </pc:spChg>
        <pc:spChg chg="mod">
          <ac:chgData name="Zhu Arena, GFTIOV, BCOM" userId="a49f412c-db83-45d3-9142-dc597ff7d65b" providerId="ADAL" clId="{46FD2C16-79FF-4FFE-BCE3-742826F5B8DC}" dt="2023-06-15T08:00:17.142" v="4826" actId="790"/>
          <ac:spMkLst>
            <pc:docMk/>
            <pc:sldMk cId="1175381119" sldId="487"/>
            <ac:spMk id="21" creationId="{00000000-0000-0000-0000-000000000000}"/>
          </ac:spMkLst>
        </pc:spChg>
        <pc:spChg chg="mod">
          <ac:chgData name="Zhu Arena, GFTIOV, BCOM" userId="a49f412c-db83-45d3-9142-dc597ff7d65b" providerId="ADAL" clId="{46FD2C16-79FF-4FFE-BCE3-742826F5B8DC}" dt="2023-06-15T08:00:17.142" v="4827" actId="790"/>
          <ac:spMkLst>
            <pc:docMk/>
            <pc:sldMk cId="1175381119" sldId="487"/>
            <ac:spMk id="22" creationId="{00000000-0000-0000-0000-000000000000}"/>
          </ac:spMkLst>
        </pc:spChg>
        <pc:spChg chg="mod">
          <ac:chgData name="Zhu Arena, GFTIOV, BCOM" userId="a49f412c-db83-45d3-9142-dc597ff7d65b" providerId="ADAL" clId="{46FD2C16-79FF-4FFE-BCE3-742826F5B8DC}" dt="2023-06-15T08:00:17.142" v="4828" actId="790"/>
          <ac:spMkLst>
            <pc:docMk/>
            <pc:sldMk cId="1175381119" sldId="487"/>
            <ac:spMk id="23" creationId="{00000000-0000-0000-0000-000000000000}"/>
          </ac:spMkLst>
        </pc:spChg>
        <pc:spChg chg="mod">
          <ac:chgData name="Zhu Arena, GFTIOV, BCOM" userId="a49f412c-db83-45d3-9142-dc597ff7d65b" providerId="ADAL" clId="{46FD2C16-79FF-4FFE-BCE3-742826F5B8DC}" dt="2023-06-15T08:00:17.142" v="4829" actId="790"/>
          <ac:spMkLst>
            <pc:docMk/>
            <pc:sldMk cId="1175381119" sldId="487"/>
            <ac:spMk id="24" creationId="{00000000-0000-0000-0000-000000000000}"/>
          </ac:spMkLst>
        </pc:spChg>
        <pc:spChg chg="mod">
          <ac:chgData name="Zhu Arena, GFTIOV, BCOM" userId="a49f412c-db83-45d3-9142-dc597ff7d65b" providerId="ADAL" clId="{46FD2C16-79FF-4FFE-BCE3-742826F5B8DC}" dt="2023-06-15T08:00:17.142" v="4830" actId="790"/>
          <ac:spMkLst>
            <pc:docMk/>
            <pc:sldMk cId="1175381119" sldId="487"/>
            <ac:spMk id="25" creationId="{00000000-0000-0000-0000-000000000000}"/>
          </ac:spMkLst>
        </pc:spChg>
        <pc:spChg chg="mod">
          <ac:chgData name="Zhu Arena, GFTIOV, BCOM" userId="a49f412c-db83-45d3-9142-dc597ff7d65b" providerId="ADAL" clId="{46FD2C16-79FF-4FFE-BCE3-742826F5B8DC}" dt="2023-06-15T08:00:17.142" v="4831" actId="790"/>
          <ac:spMkLst>
            <pc:docMk/>
            <pc:sldMk cId="1175381119" sldId="487"/>
            <ac:spMk id="26" creationId="{00000000-0000-0000-0000-000000000000}"/>
          </ac:spMkLst>
        </pc:spChg>
        <pc:spChg chg="mod">
          <ac:chgData name="Zhu Arena, GFTIOV, BCOM" userId="a49f412c-db83-45d3-9142-dc597ff7d65b" providerId="ADAL" clId="{46FD2C16-79FF-4FFE-BCE3-742826F5B8DC}" dt="2023-06-15T08:00:17.151" v="4832" actId="790"/>
          <ac:spMkLst>
            <pc:docMk/>
            <pc:sldMk cId="1175381119" sldId="487"/>
            <ac:spMk id="27" creationId="{00000000-0000-0000-0000-000000000000}"/>
          </ac:spMkLst>
        </pc:spChg>
        <pc:spChg chg="mod">
          <ac:chgData name="Zhu Arena, GFTIOV, BCOM" userId="a49f412c-db83-45d3-9142-dc597ff7d65b" providerId="ADAL" clId="{46FD2C16-79FF-4FFE-BCE3-742826F5B8DC}" dt="2023-06-15T08:00:17.151" v="4833" actId="790"/>
          <ac:spMkLst>
            <pc:docMk/>
            <pc:sldMk cId="1175381119" sldId="487"/>
            <ac:spMk id="28" creationId="{00000000-0000-0000-0000-000000000000}"/>
          </ac:spMkLst>
        </pc:spChg>
        <pc:spChg chg="mod">
          <ac:chgData name="Zhu Arena, GFTIOV, BCOM" userId="a49f412c-db83-45d3-9142-dc597ff7d65b" providerId="ADAL" clId="{46FD2C16-79FF-4FFE-BCE3-742826F5B8DC}" dt="2023-06-15T08:00:17.151" v="4834" actId="790"/>
          <ac:spMkLst>
            <pc:docMk/>
            <pc:sldMk cId="1175381119" sldId="487"/>
            <ac:spMk id="47" creationId="{00000000-0000-0000-0000-000000000000}"/>
          </ac:spMkLst>
        </pc:spChg>
        <pc:spChg chg="mod">
          <ac:chgData name="Zhu Arena, GFTIOV, BCOM" userId="a49f412c-db83-45d3-9142-dc597ff7d65b" providerId="ADAL" clId="{46FD2C16-79FF-4FFE-BCE3-742826F5B8DC}" dt="2023-06-15T08:00:17.151" v="4835" actId="790"/>
          <ac:spMkLst>
            <pc:docMk/>
            <pc:sldMk cId="1175381119" sldId="487"/>
            <ac:spMk id="50" creationId="{00000000-0000-0000-0000-000000000000}"/>
          </ac:spMkLst>
        </pc:spChg>
        <pc:spChg chg="mod">
          <ac:chgData name="Zhu Arena, GFTIOV, BCOM" userId="a49f412c-db83-45d3-9142-dc597ff7d65b" providerId="ADAL" clId="{46FD2C16-79FF-4FFE-BCE3-742826F5B8DC}" dt="2023-06-15T08:00:17.151" v="4836" actId="790"/>
          <ac:spMkLst>
            <pc:docMk/>
            <pc:sldMk cId="1175381119" sldId="487"/>
            <ac:spMk id="53" creationId="{00000000-0000-0000-0000-000000000000}"/>
          </ac:spMkLst>
        </pc:spChg>
        <pc:spChg chg="mod">
          <ac:chgData name="Zhu Arena, GFTIOV, BCOM" userId="a49f412c-db83-45d3-9142-dc597ff7d65b" providerId="ADAL" clId="{46FD2C16-79FF-4FFE-BCE3-742826F5B8DC}" dt="2023-06-15T08:00:17.151" v="4837" actId="790"/>
          <ac:spMkLst>
            <pc:docMk/>
            <pc:sldMk cId="1175381119" sldId="487"/>
            <ac:spMk id="56" creationId="{00000000-0000-0000-0000-000000000000}"/>
          </ac:spMkLst>
        </pc:spChg>
        <pc:spChg chg="mod">
          <ac:chgData name="Zhu Arena, GFTIOV, BCOM" userId="a49f412c-db83-45d3-9142-dc597ff7d65b" providerId="ADAL" clId="{46FD2C16-79FF-4FFE-BCE3-742826F5B8DC}" dt="2023-06-15T08:00:17.151" v="4838" actId="790"/>
          <ac:spMkLst>
            <pc:docMk/>
            <pc:sldMk cId="1175381119" sldId="487"/>
            <ac:spMk id="59" creationId="{00000000-0000-0000-0000-000000000000}"/>
          </ac:spMkLst>
        </pc:spChg>
        <pc:spChg chg="mod">
          <ac:chgData name="Zhu Arena, GFTIOV, BCOM" userId="a49f412c-db83-45d3-9142-dc597ff7d65b" providerId="ADAL" clId="{46FD2C16-79FF-4FFE-BCE3-742826F5B8DC}" dt="2023-06-15T08:00:17.151" v="4839" actId="790"/>
          <ac:spMkLst>
            <pc:docMk/>
            <pc:sldMk cId="1175381119" sldId="487"/>
            <ac:spMk id="64" creationId="{00000000-0000-0000-0000-000000000000}"/>
          </ac:spMkLst>
        </pc:spChg>
        <pc:spChg chg="mod">
          <ac:chgData name="Zhu Arena, GFTIOV, BCOM" userId="a49f412c-db83-45d3-9142-dc597ff7d65b" providerId="ADAL" clId="{46FD2C16-79FF-4FFE-BCE3-742826F5B8DC}" dt="2023-06-15T08:00:17.151" v="4840" actId="790"/>
          <ac:spMkLst>
            <pc:docMk/>
            <pc:sldMk cId="1175381119" sldId="487"/>
            <ac:spMk id="67" creationId="{00000000-0000-0000-0000-000000000000}"/>
          </ac:spMkLst>
        </pc:spChg>
        <pc:spChg chg="mod">
          <ac:chgData name="Zhu Arena, GFTIOV, BCOM" userId="a49f412c-db83-45d3-9142-dc597ff7d65b" providerId="ADAL" clId="{46FD2C16-79FF-4FFE-BCE3-742826F5B8DC}" dt="2023-06-15T08:00:17.151" v="4841" actId="790"/>
          <ac:spMkLst>
            <pc:docMk/>
            <pc:sldMk cId="1175381119" sldId="487"/>
            <ac:spMk id="74" creationId="{00000000-0000-0000-0000-000000000000}"/>
          </ac:spMkLst>
        </pc:spChg>
        <pc:spChg chg="mod">
          <ac:chgData name="Zhu Arena, GFTIOV, BCOM" userId="a49f412c-db83-45d3-9142-dc597ff7d65b" providerId="ADAL" clId="{46FD2C16-79FF-4FFE-BCE3-742826F5B8DC}" dt="2023-06-15T08:00:17.151" v="4842" actId="790"/>
          <ac:spMkLst>
            <pc:docMk/>
            <pc:sldMk cId="1175381119" sldId="487"/>
            <ac:spMk id="80" creationId="{00000000-0000-0000-0000-000000000000}"/>
          </ac:spMkLst>
        </pc:spChg>
        <pc:spChg chg="mod">
          <ac:chgData name="Zhu Arena, GFTIOV, BCOM" userId="a49f412c-db83-45d3-9142-dc597ff7d65b" providerId="ADAL" clId="{46FD2C16-79FF-4FFE-BCE3-742826F5B8DC}" dt="2023-06-15T08:00:17.159" v="4850" actId="790"/>
          <ac:spMkLst>
            <pc:docMk/>
            <pc:sldMk cId="1175381119" sldId="487"/>
            <ac:spMk id="81" creationId="{5C8ED50F-3C34-472D-B1A3-CBEF14C8F990}"/>
          </ac:spMkLst>
        </pc:spChg>
        <pc:spChg chg="mod">
          <ac:chgData name="Zhu Arena, GFTIOV, BCOM" userId="a49f412c-db83-45d3-9142-dc597ff7d65b" providerId="ADAL" clId="{46FD2C16-79FF-4FFE-BCE3-742826F5B8DC}" dt="2023-06-15T08:00:17.159" v="4851" actId="790"/>
          <ac:spMkLst>
            <pc:docMk/>
            <pc:sldMk cId="1175381119" sldId="487"/>
            <ac:spMk id="82" creationId="{AAA7AECD-8040-4113-A8AE-AE6EB71EF01C}"/>
          </ac:spMkLst>
        </pc:spChg>
        <pc:spChg chg="mod">
          <ac:chgData name="Zhu Arena, GFTIOV, BCOM" userId="a49f412c-db83-45d3-9142-dc597ff7d65b" providerId="ADAL" clId="{46FD2C16-79FF-4FFE-BCE3-742826F5B8DC}" dt="2023-06-15T08:00:17.159" v="4852" actId="790"/>
          <ac:spMkLst>
            <pc:docMk/>
            <pc:sldMk cId="1175381119" sldId="487"/>
            <ac:spMk id="83" creationId="{C6B10D5A-41B5-4210-8B8F-6C8FE7E8E62B}"/>
          </ac:spMkLst>
        </pc:spChg>
        <pc:spChg chg="mod">
          <ac:chgData name="Zhu Arena, GFTIOV, BCOM" userId="a49f412c-db83-45d3-9142-dc597ff7d65b" providerId="ADAL" clId="{46FD2C16-79FF-4FFE-BCE3-742826F5B8DC}" dt="2023-06-15T08:00:17.151" v="4843" actId="790"/>
          <ac:spMkLst>
            <pc:docMk/>
            <pc:sldMk cId="1175381119" sldId="487"/>
            <ac:spMk id="86" creationId="{00000000-0000-0000-0000-000000000000}"/>
          </ac:spMkLst>
        </pc:spChg>
        <pc:spChg chg="mod">
          <ac:chgData name="Zhu Arena, GFTIOV, BCOM" userId="a49f412c-db83-45d3-9142-dc597ff7d65b" providerId="ADAL" clId="{46FD2C16-79FF-4FFE-BCE3-742826F5B8DC}" dt="2023-06-15T08:00:17.151" v="4844" actId="790"/>
          <ac:spMkLst>
            <pc:docMk/>
            <pc:sldMk cId="1175381119" sldId="487"/>
            <ac:spMk id="88" creationId="{00000000-0000-0000-0000-000000000000}"/>
          </ac:spMkLst>
        </pc:spChg>
        <pc:spChg chg="mod">
          <ac:chgData name="Zhu Arena, GFTIOV, BCOM" userId="a49f412c-db83-45d3-9142-dc597ff7d65b" providerId="ADAL" clId="{46FD2C16-79FF-4FFE-BCE3-742826F5B8DC}" dt="2023-06-15T08:00:17.159" v="4853" actId="790"/>
          <ac:spMkLst>
            <pc:docMk/>
            <pc:sldMk cId="1175381119" sldId="487"/>
            <ac:spMk id="90" creationId="{7C4CC6C9-28BC-4459-9EE2-0A9D502326C3}"/>
          </ac:spMkLst>
        </pc:spChg>
        <pc:spChg chg="mod">
          <ac:chgData name="Zhu Arena, GFTIOV, BCOM" userId="a49f412c-db83-45d3-9142-dc597ff7d65b" providerId="ADAL" clId="{46FD2C16-79FF-4FFE-BCE3-742826F5B8DC}" dt="2023-06-15T08:00:17.159" v="4854" actId="790"/>
          <ac:spMkLst>
            <pc:docMk/>
            <pc:sldMk cId="1175381119" sldId="487"/>
            <ac:spMk id="91" creationId="{6301230D-2546-4BEC-8CC4-F8F0167C7CA7}"/>
          </ac:spMkLst>
        </pc:spChg>
        <pc:spChg chg="mod">
          <ac:chgData name="Zhu Arena, GFTIOV, BCOM" userId="a49f412c-db83-45d3-9142-dc597ff7d65b" providerId="ADAL" clId="{46FD2C16-79FF-4FFE-BCE3-742826F5B8DC}" dt="2023-06-15T08:00:17.159" v="4855" actId="790"/>
          <ac:spMkLst>
            <pc:docMk/>
            <pc:sldMk cId="1175381119" sldId="487"/>
            <ac:spMk id="92" creationId="{A783149B-1312-47F5-9078-BC618168A29C}"/>
          </ac:spMkLst>
        </pc:spChg>
        <pc:spChg chg="mod">
          <ac:chgData name="Zhu Arena, GFTIOV, BCOM" userId="a49f412c-db83-45d3-9142-dc597ff7d65b" providerId="ADAL" clId="{46FD2C16-79FF-4FFE-BCE3-742826F5B8DC}" dt="2023-06-15T08:00:17.159" v="4856" actId="790"/>
          <ac:spMkLst>
            <pc:docMk/>
            <pc:sldMk cId="1175381119" sldId="487"/>
            <ac:spMk id="93" creationId="{E9DA0D0A-C7F7-4F8C-97CD-A413124B7146}"/>
          </ac:spMkLst>
        </pc:spChg>
        <pc:spChg chg="mod">
          <ac:chgData name="Zhu Arena, GFTIOV, BCOM" userId="a49f412c-db83-45d3-9142-dc597ff7d65b" providerId="ADAL" clId="{46FD2C16-79FF-4FFE-BCE3-742826F5B8DC}" dt="2023-06-15T08:00:17.159" v="4857" actId="790"/>
          <ac:spMkLst>
            <pc:docMk/>
            <pc:sldMk cId="1175381119" sldId="487"/>
            <ac:spMk id="94" creationId="{16F59EAD-19A7-4632-95C1-7720C19D6F9C}"/>
          </ac:spMkLst>
        </pc:spChg>
        <pc:spChg chg="mod">
          <ac:chgData name="Zhu Arena, GFTIOV, BCOM" userId="a49f412c-db83-45d3-9142-dc597ff7d65b" providerId="ADAL" clId="{46FD2C16-79FF-4FFE-BCE3-742826F5B8DC}" dt="2023-06-15T08:00:17.159" v="4845" actId="790"/>
          <ac:spMkLst>
            <pc:docMk/>
            <pc:sldMk cId="1175381119" sldId="487"/>
            <ac:spMk id="96" creationId="{00000000-0000-0000-0000-000000000000}"/>
          </ac:spMkLst>
        </pc:spChg>
        <pc:spChg chg="mod">
          <ac:chgData name="Zhu Arena, GFTIOV, BCOM" userId="a49f412c-db83-45d3-9142-dc597ff7d65b" providerId="ADAL" clId="{46FD2C16-79FF-4FFE-BCE3-742826F5B8DC}" dt="2023-06-15T08:00:17.159" v="4858" actId="790"/>
          <ac:spMkLst>
            <pc:docMk/>
            <pc:sldMk cId="1175381119" sldId="487"/>
            <ac:spMk id="98" creationId="{CA3771AA-4B37-4898-9BC8-9E9ECB5E12C5}"/>
          </ac:spMkLst>
        </pc:spChg>
        <pc:spChg chg="mod">
          <ac:chgData name="Zhu Arena, GFTIOV, BCOM" userId="a49f412c-db83-45d3-9142-dc597ff7d65b" providerId="ADAL" clId="{46FD2C16-79FF-4FFE-BCE3-742826F5B8DC}" dt="2023-06-15T08:00:17.159" v="4846" actId="790"/>
          <ac:spMkLst>
            <pc:docMk/>
            <pc:sldMk cId="1175381119" sldId="487"/>
            <ac:spMk id="100" creationId="{00000000-0000-0000-0000-000000000000}"/>
          </ac:spMkLst>
        </pc:spChg>
        <pc:spChg chg="mod">
          <ac:chgData name="Zhu Arena, GFTIOV, BCOM" userId="a49f412c-db83-45d3-9142-dc597ff7d65b" providerId="ADAL" clId="{46FD2C16-79FF-4FFE-BCE3-742826F5B8DC}" dt="2023-06-15T08:00:17.159" v="4859" actId="790"/>
          <ac:spMkLst>
            <pc:docMk/>
            <pc:sldMk cId="1175381119" sldId="487"/>
            <ac:spMk id="103" creationId="{FA2CB326-A98E-49BF-AF3B-ABA7E3EF86E4}"/>
          </ac:spMkLst>
        </pc:spChg>
        <pc:spChg chg="mod">
          <ac:chgData name="Zhu Arena, GFTIOV, BCOM" userId="a49f412c-db83-45d3-9142-dc597ff7d65b" providerId="ADAL" clId="{46FD2C16-79FF-4FFE-BCE3-742826F5B8DC}" dt="2023-06-15T08:00:17.159" v="4847" actId="790"/>
          <ac:spMkLst>
            <pc:docMk/>
            <pc:sldMk cId="1175381119" sldId="487"/>
            <ac:spMk id="104" creationId="{00000000-0000-0000-0000-000000000000}"/>
          </ac:spMkLst>
        </pc:spChg>
        <pc:spChg chg="mod">
          <ac:chgData name="Zhu Arena, GFTIOV, BCOM" userId="a49f412c-db83-45d3-9142-dc597ff7d65b" providerId="ADAL" clId="{46FD2C16-79FF-4FFE-BCE3-742826F5B8DC}" dt="2023-06-15T08:00:17.159" v="4860" actId="790"/>
          <ac:spMkLst>
            <pc:docMk/>
            <pc:sldMk cId="1175381119" sldId="487"/>
            <ac:spMk id="105" creationId="{77470070-DD86-47D9-9C46-B3AFD42FE2E3}"/>
          </ac:spMkLst>
        </pc:spChg>
        <pc:spChg chg="mod">
          <ac:chgData name="Zhu Arena, GFTIOV, BCOM" userId="a49f412c-db83-45d3-9142-dc597ff7d65b" providerId="ADAL" clId="{46FD2C16-79FF-4FFE-BCE3-742826F5B8DC}" dt="2023-06-15T08:00:17.167" v="4861" actId="790"/>
          <ac:spMkLst>
            <pc:docMk/>
            <pc:sldMk cId="1175381119" sldId="487"/>
            <ac:spMk id="106" creationId="{47049D0F-9C67-49A7-8C2E-FA08A9D3AEC4}"/>
          </ac:spMkLst>
        </pc:spChg>
        <pc:spChg chg="mod">
          <ac:chgData name="Zhu Arena, GFTIOV, BCOM" userId="a49f412c-db83-45d3-9142-dc597ff7d65b" providerId="ADAL" clId="{46FD2C16-79FF-4FFE-BCE3-742826F5B8DC}" dt="2023-06-15T08:00:17.159" v="4848" actId="790"/>
          <ac:spMkLst>
            <pc:docMk/>
            <pc:sldMk cId="1175381119" sldId="487"/>
            <ac:spMk id="110" creationId="{00000000-0000-0000-0000-000000000000}"/>
          </ac:spMkLst>
        </pc:spChg>
        <pc:spChg chg="mod">
          <ac:chgData name="Zhu Arena, GFTIOV, BCOM" userId="a49f412c-db83-45d3-9142-dc597ff7d65b" providerId="ADAL" clId="{46FD2C16-79FF-4FFE-BCE3-742826F5B8DC}" dt="2023-06-15T08:00:17.159" v="4849" actId="790"/>
          <ac:spMkLst>
            <pc:docMk/>
            <pc:sldMk cId="1175381119" sldId="487"/>
            <ac:spMk id="114" creationId="{00000000-0000-0000-0000-000000000000}"/>
          </ac:spMkLst>
        </pc:spChg>
        <pc:picChg chg="mod">
          <ac:chgData name="Zhu Arena, GFTIOV, BCOM" userId="a49f412c-db83-45d3-9142-dc597ff7d65b" providerId="ADAL" clId="{46FD2C16-79FF-4FFE-BCE3-742826F5B8DC}" dt="2023-06-15T08:00:17.261" v="5000"/>
          <ac:picMkLst>
            <pc:docMk/>
            <pc:sldMk cId="1175381119" sldId="487"/>
            <ac:picMk id="30" creationId="{00000000-0000-0000-0000-000000000000}"/>
          </ac:picMkLst>
        </pc:picChg>
      </pc:sldChg>
      <pc:sldChg chg="del">
        <pc:chgData name="Zhu Arena, GFTIOV, BCOM" userId="a49f412c-db83-45d3-9142-dc597ff7d65b" providerId="ADAL" clId="{46FD2C16-79FF-4FFE-BCE3-742826F5B8DC}" dt="2023-06-14T08:12:12.964" v="2" actId="47"/>
        <pc:sldMkLst>
          <pc:docMk/>
          <pc:sldMk cId="917422119" sldId="492"/>
        </pc:sldMkLst>
      </pc:sldChg>
      <pc:sldChg chg="modSp add del mod ord">
        <pc:chgData name="Zhu Arena, GFTIOV, BCOM" userId="a49f412c-db83-45d3-9142-dc597ff7d65b" providerId="ADAL" clId="{46FD2C16-79FF-4FFE-BCE3-742826F5B8DC}" dt="2023-06-15T02:52:39.183" v="3142" actId="47"/>
        <pc:sldMkLst>
          <pc:docMk/>
          <pc:sldMk cId="1246002722" sldId="506"/>
        </pc:sldMkLst>
        <pc:spChg chg="mod">
          <ac:chgData name="Zhu Arena, GFTIOV, BCOM" userId="a49f412c-db83-45d3-9142-dc597ff7d65b" providerId="ADAL" clId="{46FD2C16-79FF-4FFE-BCE3-742826F5B8DC}" dt="2023-06-15T01:58:01.451" v="2866" actId="113"/>
          <ac:spMkLst>
            <pc:docMk/>
            <pc:sldMk cId="1246002722" sldId="506"/>
            <ac:spMk id="2" creationId="{00000000-0000-0000-0000-000000000000}"/>
          </ac:spMkLst>
        </pc:spChg>
      </pc:sldChg>
      <pc:sldChg chg="modSp add del mod">
        <pc:chgData name="Zhu Arena, GFTIOV, BCOM" userId="a49f412c-db83-45d3-9142-dc597ff7d65b" providerId="ADAL" clId="{46FD2C16-79FF-4FFE-BCE3-742826F5B8DC}" dt="2023-06-15T02:52:40.348" v="3143" actId="47"/>
        <pc:sldMkLst>
          <pc:docMk/>
          <pc:sldMk cId="727582286" sldId="507"/>
        </pc:sldMkLst>
        <pc:spChg chg="mod">
          <ac:chgData name="Zhu Arena, GFTIOV, BCOM" userId="a49f412c-db83-45d3-9142-dc597ff7d65b" providerId="ADAL" clId="{46FD2C16-79FF-4FFE-BCE3-742826F5B8DC}" dt="2023-06-15T01:58:06.340" v="2868" actId="20577"/>
          <ac:spMkLst>
            <pc:docMk/>
            <pc:sldMk cId="727582286" sldId="507"/>
            <ac:spMk id="11" creationId="{00000000-0000-0000-0000-000000000000}"/>
          </ac:spMkLst>
        </pc:spChg>
      </pc:sldChg>
      <pc:sldChg chg="modSp add del mod ord">
        <pc:chgData name="Zhu Arena, GFTIOV, BCOM" userId="a49f412c-db83-45d3-9142-dc597ff7d65b" providerId="ADAL" clId="{46FD2C16-79FF-4FFE-BCE3-742826F5B8DC}" dt="2023-06-15T02:52:41.830" v="3144" actId="47"/>
        <pc:sldMkLst>
          <pc:docMk/>
          <pc:sldMk cId="1102434813" sldId="508"/>
        </pc:sldMkLst>
        <pc:spChg chg="mod">
          <ac:chgData name="Zhu Arena, GFTIOV, BCOM" userId="a49f412c-db83-45d3-9142-dc597ff7d65b" providerId="ADAL" clId="{46FD2C16-79FF-4FFE-BCE3-742826F5B8DC}" dt="2023-06-15T01:58:22.769" v="2877" actId="20577"/>
          <ac:spMkLst>
            <pc:docMk/>
            <pc:sldMk cId="1102434813" sldId="508"/>
            <ac:spMk id="2" creationId="{00000000-0000-0000-0000-000000000000}"/>
          </ac:spMkLst>
        </pc:spChg>
      </pc:sldChg>
      <pc:sldChg chg="addSp delSp modSp add del mod ord modClrScheme chgLayout modNotesTx">
        <pc:chgData name="Zhu Arena, GFTIOV, BCOM" userId="a49f412c-db83-45d3-9142-dc597ff7d65b" providerId="ADAL" clId="{46FD2C16-79FF-4FFE-BCE3-742826F5B8DC}" dt="2023-06-16T03:25:35.530" v="6580" actId="47"/>
        <pc:sldMkLst>
          <pc:docMk/>
          <pc:sldMk cId="101057407" sldId="544"/>
        </pc:sldMkLst>
        <pc:spChg chg="mod ord">
          <ac:chgData name="Zhu Arena, GFTIOV, BCOM" userId="a49f412c-db83-45d3-9142-dc597ff7d65b" providerId="ADAL" clId="{46FD2C16-79FF-4FFE-BCE3-742826F5B8DC}" dt="2023-06-15T10:26:07.646" v="6200" actId="313"/>
          <ac:spMkLst>
            <pc:docMk/>
            <pc:sldMk cId="101057407" sldId="544"/>
            <ac:spMk id="2" creationId="{00000000-0000-0000-0000-000000000000}"/>
          </ac:spMkLst>
        </pc:spChg>
        <pc:spChg chg="del mod">
          <ac:chgData name="Zhu Arena, GFTIOV, BCOM" userId="a49f412c-db83-45d3-9142-dc597ff7d65b" providerId="ADAL" clId="{46FD2C16-79FF-4FFE-BCE3-742826F5B8DC}" dt="2023-06-14T12:39:57.874" v="1667" actId="700"/>
          <ac:spMkLst>
            <pc:docMk/>
            <pc:sldMk cId="101057407" sldId="544"/>
            <ac:spMk id="3" creationId="{00000000-0000-0000-0000-000000000000}"/>
          </ac:spMkLst>
        </pc:spChg>
        <pc:spChg chg="add mod">
          <ac:chgData name="Zhu Arena, GFTIOV, BCOM" userId="a49f412c-db83-45d3-9142-dc597ff7d65b" providerId="ADAL" clId="{46FD2C16-79FF-4FFE-BCE3-742826F5B8DC}" dt="2023-06-16T02:29:12.964" v="6268" actId="14100"/>
          <ac:spMkLst>
            <pc:docMk/>
            <pc:sldMk cId="101057407" sldId="544"/>
            <ac:spMk id="3" creationId="{36F36EA6-11F0-1C6A-58DF-FF1202794A12}"/>
          </ac:spMkLst>
        </pc:spChg>
        <pc:spChg chg="mod ord">
          <ac:chgData name="Zhu Arena, GFTIOV, BCOM" userId="a49f412c-db83-45d3-9142-dc597ff7d65b" providerId="ADAL" clId="{46FD2C16-79FF-4FFE-BCE3-742826F5B8DC}" dt="2023-06-15T08:00:17.221" v="4955" actId="790"/>
          <ac:spMkLst>
            <pc:docMk/>
            <pc:sldMk cId="101057407" sldId="544"/>
            <ac:spMk id="4" creationId="{00000000-0000-0000-0000-000000000000}"/>
          </ac:spMkLst>
        </pc:spChg>
        <pc:spChg chg="add mod">
          <ac:chgData name="Zhu Arena, GFTIOV, BCOM" userId="a49f412c-db83-45d3-9142-dc597ff7d65b" providerId="ADAL" clId="{46FD2C16-79FF-4FFE-BCE3-742826F5B8DC}" dt="2023-06-16T02:29:09.442" v="6267" actId="14100"/>
          <ac:spMkLst>
            <pc:docMk/>
            <pc:sldMk cId="101057407" sldId="544"/>
            <ac:spMk id="10" creationId="{053CBC10-19FB-1251-454D-76AAB32BFBBF}"/>
          </ac:spMkLst>
        </pc:spChg>
        <pc:spChg chg="add mod">
          <ac:chgData name="Zhu Arena, GFTIOV, BCOM" userId="a49f412c-db83-45d3-9142-dc597ff7d65b" providerId="ADAL" clId="{46FD2C16-79FF-4FFE-BCE3-742826F5B8DC}" dt="2023-06-16T02:28:23.999" v="6261" actId="20577"/>
          <ac:spMkLst>
            <pc:docMk/>
            <pc:sldMk cId="101057407" sldId="544"/>
            <ac:spMk id="36" creationId="{E9555775-0F08-44F7-E09F-2A397476D869}"/>
          </ac:spMkLst>
        </pc:spChg>
        <pc:grpChg chg="add del mod">
          <ac:chgData name="Zhu Arena, GFTIOV, BCOM" userId="a49f412c-db83-45d3-9142-dc597ff7d65b" providerId="ADAL" clId="{46FD2C16-79FF-4FFE-BCE3-742826F5B8DC}" dt="2023-06-14T12:38:11.091" v="1638" actId="165"/>
          <ac:grpSpMkLst>
            <pc:docMk/>
            <pc:sldMk cId="101057407" sldId="544"/>
            <ac:grpSpMk id="25" creationId="{74D5BC74-A88D-7297-AE02-9FBD5CF9427A}"/>
          </ac:grpSpMkLst>
        </pc:grpChg>
        <pc:picChg chg="mod">
          <ac:chgData name="Zhu Arena, GFTIOV, BCOM" userId="a49f412c-db83-45d3-9142-dc597ff7d65b" providerId="ADAL" clId="{46FD2C16-79FF-4FFE-BCE3-742826F5B8DC}" dt="2023-06-16T02:27:05.160" v="6206" actId="208"/>
          <ac:picMkLst>
            <pc:docMk/>
            <pc:sldMk cId="101057407" sldId="544"/>
            <ac:picMk id="5" creationId="{00000000-0000-0000-0000-000000000000}"/>
          </ac:picMkLst>
        </pc:picChg>
        <pc:picChg chg="del">
          <ac:chgData name="Zhu Arena, GFTIOV, BCOM" userId="a49f412c-db83-45d3-9142-dc597ff7d65b" providerId="ADAL" clId="{46FD2C16-79FF-4FFE-BCE3-742826F5B8DC}" dt="2023-06-14T12:37:11.456" v="1632" actId="478"/>
          <ac:picMkLst>
            <pc:docMk/>
            <pc:sldMk cId="101057407" sldId="544"/>
            <ac:picMk id="10" creationId="{00000000-0000-0000-0000-000000000000}"/>
          </ac:picMkLst>
        </pc:picChg>
        <pc:picChg chg="mod">
          <ac:chgData name="Zhu Arena, GFTIOV, BCOM" userId="a49f412c-db83-45d3-9142-dc597ff7d65b" providerId="ADAL" clId="{46FD2C16-79FF-4FFE-BCE3-742826F5B8DC}" dt="2023-06-16T02:27:05.160" v="6206" actId="208"/>
          <ac:picMkLst>
            <pc:docMk/>
            <pc:sldMk cId="101057407" sldId="544"/>
            <ac:picMk id="11" creationId="{00000000-0000-0000-0000-000000000000}"/>
          </ac:picMkLst>
        </pc:picChg>
        <pc:picChg chg="mod">
          <ac:chgData name="Zhu Arena, GFTIOV, BCOM" userId="a49f412c-db83-45d3-9142-dc597ff7d65b" providerId="ADAL" clId="{46FD2C16-79FF-4FFE-BCE3-742826F5B8DC}" dt="2023-06-16T02:27:05.160" v="6206" actId="208"/>
          <ac:picMkLst>
            <pc:docMk/>
            <pc:sldMk cId="101057407" sldId="544"/>
            <ac:picMk id="12" creationId="{00000000-0000-0000-0000-000000000000}"/>
          </ac:picMkLst>
        </pc:picChg>
        <pc:picChg chg="mod">
          <ac:chgData name="Zhu Arena, GFTIOV, BCOM" userId="a49f412c-db83-45d3-9142-dc597ff7d65b" providerId="ADAL" clId="{46FD2C16-79FF-4FFE-BCE3-742826F5B8DC}" dt="2023-06-14T12:38:55.209" v="1651" actId="1076"/>
          <ac:picMkLst>
            <pc:docMk/>
            <pc:sldMk cId="101057407" sldId="544"/>
            <ac:picMk id="13" creationId="{00000000-0000-0000-0000-000000000000}"/>
          </ac:picMkLst>
        </pc:picChg>
        <pc:picChg chg="mod">
          <ac:chgData name="Zhu Arena, GFTIOV, BCOM" userId="a49f412c-db83-45d3-9142-dc597ff7d65b" providerId="ADAL" clId="{46FD2C16-79FF-4FFE-BCE3-742826F5B8DC}" dt="2023-06-16T02:27:05.160" v="6206" actId="208"/>
          <ac:picMkLst>
            <pc:docMk/>
            <pc:sldMk cId="101057407" sldId="544"/>
            <ac:picMk id="14" creationId="{00000000-0000-0000-0000-000000000000}"/>
          </ac:picMkLst>
        </pc:picChg>
        <pc:picChg chg="mod">
          <ac:chgData name="Zhu Arena, GFTIOV, BCOM" userId="a49f412c-db83-45d3-9142-dc597ff7d65b" providerId="ADAL" clId="{46FD2C16-79FF-4FFE-BCE3-742826F5B8DC}" dt="2023-06-15T01:27:38.181" v="2670" actId="1076"/>
          <ac:picMkLst>
            <pc:docMk/>
            <pc:sldMk cId="101057407" sldId="544"/>
            <ac:picMk id="15" creationId="{00000000-0000-0000-0000-000000000000}"/>
          </ac:picMkLst>
        </pc:picChg>
        <pc:picChg chg="mod">
          <ac:chgData name="Zhu Arena, GFTIOV, BCOM" userId="a49f412c-db83-45d3-9142-dc597ff7d65b" providerId="ADAL" clId="{46FD2C16-79FF-4FFE-BCE3-742826F5B8DC}" dt="2023-06-14T12:39:05.417" v="1655" actId="1076"/>
          <ac:picMkLst>
            <pc:docMk/>
            <pc:sldMk cId="101057407" sldId="544"/>
            <ac:picMk id="17" creationId="{00000000-0000-0000-0000-000000000000}"/>
          </ac:picMkLst>
        </pc:picChg>
        <pc:picChg chg="mod">
          <ac:chgData name="Zhu Arena, GFTIOV, BCOM" userId="a49f412c-db83-45d3-9142-dc597ff7d65b" providerId="ADAL" clId="{46FD2C16-79FF-4FFE-BCE3-742826F5B8DC}" dt="2023-06-16T02:27:05.160" v="6206" actId="208"/>
          <ac:picMkLst>
            <pc:docMk/>
            <pc:sldMk cId="101057407" sldId="544"/>
            <ac:picMk id="18" creationId="{00000000-0000-0000-0000-000000000000}"/>
          </ac:picMkLst>
        </pc:picChg>
        <pc:picChg chg="mod">
          <ac:chgData name="Zhu Arena, GFTIOV, BCOM" userId="a49f412c-db83-45d3-9142-dc597ff7d65b" providerId="ADAL" clId="{46FD2C16-79FF-4FFE-BCE3-742826F5B8DC}" dt="2023-06-16T02:27:05.160" v="6206" actId="208"/>
          <ac:picMkLst>
            <pc:docMk/>
            <pc:sldMk cId="101057407" sldId="544"/>
            <ac:picMk id="19" creationId="{00000000-0000-0000-0000-000000000000}"/>
          </ac:picMkLst>
        </pc:picChg>
        <pc:picChg chg="del">
          <ac:chgData name="Zhu Arena, GFTIOV, BCOM" userId="a49f412c-db83-45d3-9142-dc597ff7d65b" providerId="ADAL" clId="{46FD2C16-79FF-4FFE-BCE3-742826F5B8DC}" dt="2023-06-14T12:37:18.140" v="1633" actId="478"/>
          <ac:picMkLst>
            <pc:docMk/>
            <pc:sldMk cId="101057407" sldId="544"/>
            <ac:picMk id="20" creationId="{00000000-0000-0000-0000-000000000000}"/>
          </ac:picMkLst>
        </pc:picChg>
        <pc:picChg chg="mod">
          <ac:chgData name="Zhu Arena, GFTIOV, BCOM" userId="a49f412c-db83-45d3-9142-dc597ff7d65b" providerId="ADAL" clId="{46FD2C16-79FF-4FFE-BCE3-742826F5B8DC}" dt="2023-06-16T02:27:05.160" v="6206" actId="208"/>
          <ac:picMkLst>
            <pc:docMk/>
            <pc:sldMk cId="101057407" sldId="544"/>
            <ac:picMk id="21" creationId="{00000000-0000-0000-0000-000000000000}"/>
          </ac:picMkLst>
        </pc:picChg>
        <pc:picChg chg="del">
          <ac:chgData name="Zhu Arena, GFTIOV, BCOM" userId="a49f412c-db83-45d3-9142-dc597ff7d65b" providerId="ADAL" clId="{46FD2C16-79FF-4FFE-BCE3-742826F5B8DC}" dt="2023-06-14T12:42:37.812" v="1737" actId="478"/>
          <ac:picMkLst>
            <pc:docMk/>
            <pc:sldMk cId="101057407" sldId="544"/>
            <ac:picMk id="24" creationId="{00000000-0000-0000-0000-000000000000}"/>
          </ac:picMkLst>
        </pc:picChg>
        <pc:picChg chg="del mod topLvl">
          <ac:chgData name="Zhu Arena, GFTIOV, BCOM" userId="a49f412c-db83-45d3-9142-dc597ff7d65b" providerId="ADAL" clId="{46FD2C16-79FF-4FFE-BCE3-742826F5B8DC}" dt="2023-06-14T12:38:17.883" v="1639" actId="478"/>
          <ac:picMkLst>
            <pc:docMk/>
            <pc:sldMk cId="101057407" sldId="544"/>
            <ac:picMk id="26" creationId="{C502411B-548D-A4FE-97DF-1FA5B22BBD19}"/>
          </ac:picMkLst>
        </pc:picChg>
        <pc:picChg chg="del mod topLvl">
          <ac:chgData name="Zhu Arena, GFTIOV, BCOM" userId="a49f412c-db83-45d3-9142-dc597ff7d65b" providerId="ADAL" clId="{46FD2C16-79FF-4FFE-BCE3-742826F5B8DC}" dt="2023-06-14T12:38:17.883" v="1639" actId="478"/>
          <ac:picMkLst>
            <pc:docMk/>
            <pc:sldMk cId="101057407" sldId="544"/>
            <ac:picMk id="27" creationId="{25E2EC24-C780-F4CB-2C4B-A16C76E145CB}"/>
          </ac:picMkLst>
        </pc:picChg>
        <pc:picChg chg="del mod topLvl">
          <ac:chgData name="Zhu Arena, GFTIOV, BCOM" userId="a49f412c-db83-45d3-9142-dc597ff7d65b" providerId="ADAL" clId="{46FD2C16-79FF-4FFE-BCE3-742826F5B8DC}" dt="2023-06-14T12:38:17.883" v="1639" actId="478"/>
          <ac:picMkLst>
            <pc:docMk/>
            <pc:sldMk cId="101057407" sldId="544"/>
            <ac:picMk id="28" creationId="{620B9455-B541-CBDA-7E75-A93E7FB81757}"/>
          </ac:picMkLst>
        </pc:picChg>
        <pc:picChg chg="mod topLvl">
          <ac:chgData name="Zhu Arena, GFTIOV, BCOM" userId="a49f412c-db83-45d3-9142-dc597ff7d65b" providerId="ADAL" clId="{46FD2C16-79FF-4FFE-BCE3-742826F5B8DC}" dt="2023-06-16T02:27:05.160" v="6206" actId="208"/>
          <ac:picMkLst>
            <pc:docMk/>
            <pc:sldMk cId="101057407" sldId="544"/>
            <ac:picMk id="29" creationId="{77AC0C28-89A9-8FE3-ACDC-A6D27D728FDA}"/>
          </ac:picMkLst>
        </pc:picChg>
        <pc:picChg chg="del mod topLvl">
          <ac:chgData name="Zhu Arena, GFTIOV, BCOM" userId="a49f412c-db83-45d3-9142-dc597ff7d65b" providerId="ADAL" clId="{46FD2C16-79FF-4FFE-BCE3-742826F5B8DC}" dt="2023-06-14T12:38:17.883" v="1639" actId="478"/>
          <ac:picMkLst>
            <pc:docMk/>
            <pc:sldMk cId="101057407" sldId="544"/>
            <ac:picMk id="30" creationId="{6185FDE2-1889-8D09-27B1-E0B8D2089884}"/>
          </ac:picMkLst>
        </pc:picChg>
        <pc:picChg chg="del mod topLvl">
          <ac:chgData name="Zhu Arena, GFTIOV, BCOM" userId="a49f412c-db83-45d3-9142-dc597ff7d65b" providerId="ADAL" clId="{46FD2C16-79FF-4FFE-BCE3-742826F5B8DC}" dt="2023-06-14T12:38:17.883" v="1639" actId="478"/>
          <ac:picMkLst>
            <pc:docMk/>
            <pc:sldMk cId="101057407" sldId="544"/>
            <ac:picMk id="31" creationId="{CB6F2B7D-84BF-3A44-6298-0AF52A0DBD2A}"/>
          </ac:picMkLst>
        </pc:picChg>
        <pc:picChg chg="del mod topLvl">
          <ac:chgData name="Zhu Arena, GFTIOV, BCOM" userId="a49f412c-db83-45d3-9142-dc597ff7d65b" providerId="ADAL" clId="{46FD2C16-79FF-4FFE-BCE3-742826F5B8DC}" dt="2023-06-14T12:38:17.883" v="1639" actId="478"/>
          <ac:picMkLst>
            <pc:docMk/>
            <pc:sldMk cId="101057407" sldId="544"/>
            <ac:picMk id="32" creationId="{32DF8EBA-ABDD-CC4B-3E7A-ADEF693F6A7A}"/>
          </ac:picMkLst>
        </pc:picChg>
        <pc:picChg chg="del mod topLvl">
          <ac:chgData name="Zhu Arena, GFTIOV, BCOM" userId="a49f412c-db83-45d3-9142-dc597ff7d65b" providerId="ADAL" clId="{46FD2C16-79FF-4FFE-BCE3-742826F5B8DC}" dt="2023-06-14T12:38:17.883" v="1639" actId="478"/>
          <ac:picMkLst>
            <pc:docMk/>
            <pc:sldMk cId="101057407" sldId="544"/>
            <ac:picMk id="33" creationId="{C129B0BD-FACB-3A3E-60F9-1FA3AAE15EDA}"/>
          </ac:picMkLst>
        </pc:picChg>
        <pc:picChg chg="mod topLvl">
          <ac:chgData name="Zhu Arena, GFTIOV, BCOM" userId="a49f412c-db83-45d3-9142-dc597ff7d65b" providerId="ADAL" clId="{46FD2C16-79FF-4FFE-BCE3-742826F5B8DC}" dt="2023-06-16T02:27:05.160" v="6206" actId="208"/>
          <ac:picMkLst>
            <pc:docMk/>
            <pc:sldMk cId="101057407" sldId="544"/>
            <ac:picMk id="34" creationId="{85267EE8-DC95-B02C-2F5D-30C0EF55CF1C}"/>
          </ac:picMkLst>
        </pc:picChg>
      </pc:sldChg>
      <pc:sldChg chg="modSp mod">
        <pc:chgData name="Zhu Arena, GFTIOV, BCOM" userId="a49f412c-db83-45d3-9142-dc597ff7d65b" providerId="ADAL" clId="{46FD2C16-79FF-4FFE-BCE3-742826F5B8DC}" dt="2023-06-15T08:00:17.142" v="4824" actId="790"/>
        <pc:sldMkLst>
          <pc:docMk/>
          <pc:sldMk cId="1406992056" sldId="779"/>
        </pc:sldMkLst>
        <pc:spChg chg="mod">
          <ac:chgData name="Zhu Arena, GFTIOV, BCOM" userId="a49f412c-db83-45d3-9142-dc597ff7d65b" providerId="ADAL" clId="{46FD2C16-79FF-4FFE-BCE3-742826F5B8DC}" dt="2023-06-15T08:00:17.118" v="4805" actId="790"/>
          <ac:spMkLst>
            <pc:docMk/>
            <pc:sldMk cId="1406992056" sldId="779"/>
            <ac:spMk id="3" creationId="{00000000-0000-0000-0000-000000000000}"/>
          </ac:spMkLst>
        </pc:spChg>
        <pc:spChg chg="mod">
          <ac:chgData name="Zhu Arena, GFTIOV, BCOM" userId="a49f412c-db83-45d3-9142-dc597ff7d65b" providerId="ADAL" clId="{46FD2C16-79FF-4FFE-BCE3-742826F5B8DC}" dt="2023-06-15T08:00:17.134" v="4823" actId="790"/>
          <ac:spMkLst>
            <pc:docMk/>
            <pc:sldMk cId="1406992056" sldId="779"/>
            <ac:spMk id="57" creationId="{D9F04CAF-53D1-4609-BD99-7F9B86957277}"/>
          </ac:spMkLst>
        </pc:spChg>
        <pc:spChg chg="mod">
          <ac:chgData name="Zhu Arena, GFTIOV, BCOM" userId="a49f412c-db83-45d3-9142-dc597ff7d65b" providerId="ADAL" clId="{46FD2C16-79FF-4FFE-BCE3-742826F5B8DC}" dt="2023-06-15T08:00:17.142" v="4824" actId="790"/>
          <ac:spMkLst>
            <pc:docMk/>
            <pc:sldMk cId="1406992056" sldId="779"/>
            <ac:spMk id="58" creationId="{775EA8BF-85DB-4374-B8B1-75C47ED7EB88}"/>
          </ac:spMkLst>
        </pc:spChg>
        <pc:spChg chg="mod">
          <ac:chgData name="Zhu Arena, GFTIOV, BCOM" userId="a49f412c-db83-45d3-9142-dc597ff7d65b" providerId="ADAL" clId="{46FD2C16-79FF-4FFE-BCE3-742826F5B8DC}" dt="2023-06-15T08:00:17.126" v="4807" actId="790"/>
          <ac:spMkLst>
            <pc:docMk/>
            <pc:sldMk cId="1406992056" sldId="779"/>
            <ac:spMk id="66" creationId="{00000000-0000-0000-0000-000000000000}"/>
          </ac:spMkLst>
        </pc:spChg>
        <pc:spChg chg="mod">
          <ac:chgData name="Zhu Arena, GFTIOV, BCOM" userId="a49f412c-db83-45d3-9142-dc597ff7d65b" providerId="ADAL" clId="{46FD2C16-79FF-4FFE-BCE3-742826F5B8DC}" dt="2023-06-15T08:00:17.134" v="4808" actId="790"/>
          <ac:spMkLst>
            <pc:docMk/>
            <pc:sldMk cId="1406992056" sldId="779"/>
            <ac:spMk id="67" creationId="{00000000-0000-0000-0000-000000000000}"/>
          </ac:spMkLst>
        </pc:spChg>
        <pc:spChg chg="mod">
          <ac:chgData name="Zhu Arena, GFTIOV, BCOM" userId="a49f412c-db83-45d3-9142-dc597ff7d65b" providerId="ADAL" clId="{46FD2C16-79FF-4FFE-BCE3-742826F5B8DC}" dt="2023-06-15T08:00:17.134" v="4809" actId="790"/>
          <ac:spMkLst>
            <pc:docMk/>
            <pc:sldMk cId="1406992056" sldId="779"/>
            <ac:spMk id="71" creationId="{00000000-0000-0000-0000-000000000000}"/>
          </ac:spMkLst>
        </pc:spChg>
        <pc:spChg chg="mod">
          <ac:chgData name="Zhu Arena, GFTIOV, BCOM" userId="a49f412c-db83-45d3-9142-dc597ff7d65b" providerId="ADAL" clId="{46FD2C16-79FF-4FFE-BCE3-742826F5B8DC}" dt="2023-06-15T08:00:17.118" v="4793" actId="790"/>
          <ac:spMkLst>
            <pc:docMk/>
            <pc:sldMk cId="1406992056" sldId="779"/>
            <ac:spMk id="73" creationId="{00000000-0000-0000-0000-000000000000}"/>
          </ac:spMkLst>
        </pc:spChg>
        <pc:spChg chg="mod">
          <ac:chgData name="Zhu Arena, GFTIOV, BCOM" userId="a49f412c-db83-45d3-9142-dc597ff7d65b" providerId="ADAL" clId="{46FD2C16-79FF-4FFE-BCE3-742826F5B8DC}" dt="2023-06-15T08:00:17.134" v="4810" actId="790"/>
          <ac:spMkLst>
            <pc:docMk/>
            <pc:sldMk cId="1406992056" sldId="779"/>
            <ac:spMk id="74" creationId="{00000000-0000-0000-0000-000000000000}"/>
          </ac:spMkLst>
        </pc:spChg>
        <pc:spChg chg="mod">
          <ac:chgData name="Zhu Arena, GFTIOV, BCOM" userId="a49f412c-db83-45d3-9142-dc597ff7d65b" providerId="ADAL" clId="{46FD2C16-79FF-4FFE-BCE3-742826F5B8DC}" dt="2023-06-15T08:00:17.134" v="4811" actId="790"/>
          <ac:spMkLst>
            <pc:docMk/>
            <pc:sldMk cId="1406992056" sldId="779"/>
            <ac:spMk id="76" creationId="{00000000-0000-0000-0000-000000000000}"/>
          </ac:spMkLst>
        </pc:spChg>
        <pc:spChg chg="mod">
          <ac:chgData name="Zhu Arena, GFTIOV, BCOM" userId="a49f412c-db83-45d3-9142-dc597ff7d65b" providerId="ADAL" clId="{46FD2C16-79FF-4FFE-BCE3-742826F5B8DC}" dt="2023-06-15T08:00:17.134" v="4812" actId="790"/>
          <ac:spMkLst>
            <pc:docMk/>
            <pc:sldMk cId="1406992056" sldId="779"/>
            <ac:spMk id="77" creationId="{00000000-0000-0000-0000-000000000000}"/>
          </ac:spMkLst>
        </pc:spChg>
        <pc:spChg chg="mod">
          <ac:chgData name="Zhu Arena, GFTIOV, BCOM" userId="a49f412c-db83-45d3-9142-dc597ff7d65b" providerId="ADAL" clId="{46FD2C16-79FF-4FFE-BCE3-742826F5B8DC}" dt="2023-06-15T08:00:17.134" v="4813" actId="790"/>
          <ac:spMkLst>
            <pc:docMk/>
            <pc:sldMk cId="1406992056" sldId="779"/>
            <ac:spMk id="80" creationId="{00000000-0000-0000-0000-000000000000}"/>
          </ac:spMkLst>
        </pc:spChg>
        <pc:spChg chg="mod">
          <ac:chgData name="Zhu Arena, GFTIOV, BCOM" userId="a49f412c-db83-45d3-9142-dc597ff7d65b" providerId="ADAL" clId="{46FD2C16-79FF-4FFE-BCE3-742826F5B8DC}" dt="2023-06-15T08:00:17.134" v="4814" actId="790"/>
          <ac:spMkLst>
            <pc:docMk/>
            <pc:sldMk cId="1406992056" sldId="779"/>
            <ac:spMk id="81" creationId="{00000000-0000-0000-0000-000000000000}"/>
          </ac:spMkLst>
        </pc:spChg>
        <pc:spChg chg="mod">
          <ac:chgData name="Zhu Arena, GFTIOV, BCOM" userId="a49f412c-db83-45d3-9142-dc597ff7d65b" providerId="ADAL" clId="{46FD2C16-79FF-4FFE-BCE3-742826F5B8DC}" dt="2023-06-15T08:00:17.134" v="4815" actId="790"/>
          <ac:spMkLst>
            <pc:docMk/>
            <pc:sldMk cId="1406992056" sldId="779"/>
            <ac:spMk id="83" creationId="{00000000-0000-0000-0000-000000000000}"/>
          </ac:spMkLst>
        </pc:spChg>
        <pc:spChg chg="mod">
          <ac:chgData name="Zhu Arena, GFTIOV, BCOM" userId="a49f412c-db83-45d3-9142-dc597ff7d65b" providerId="ADAL" clId="{46FD2C16-79FF-4FFE-BCE3-742826F5B8DC}" dt="2023-06-15T08:00:17.134" v="4816" actId="790"/>
          <ac:spMkLst>
            <pc:docMk/>
            <pc:sldMk cId="1406992056" sldId="779"/>
            <ac:spMk id="84" creationId="{00000000-0000-0000-0000-000000000000}"/>
          </ac:spMkLst>
        </pc:spChg>
        <pc:spChg chg="mod">
          <ac:chgData name="Zhu Arena, GFTIOV, BCOM" userId="a49f412c-db83-45d3-9142-dc597ff7d65b" providerId="ADAL" clId="{46FD2C16-79FF-4FFE-BCE3-742826F5B8DC}" dt="2023-06-15T08:00:17.134" v="4817" actId="790"/>
          <ac:spMkLst>
            <pc:docMk/>
            <pc:sldMk cId="1406992056" sldId="779"/>
            <ac:spMk id="86" creationId="{00000000-0000-0000-0000-000000000000}"/>
          </ac:spMkLst>
        </pc:spChg>
        <pc:spChg chg="mod">
          <ac:chgData name="Zhu Arena, GFTIOV, BCOM" userId="a49f412c-db83-45d3-9142-dc597ff7d65b" providerId="ADAL" clId="{46FD2C16-79FF-4FFE-BCE3-742826F5B8DC}" dt="2023-06-15T08:00:17.118" v="4794" actId="790"/>
          <ac:spMkLst>
            <pc:docMk/>
            <pc:sldMk cId="1406992056" sldId="779"/>
            <ac:spMk id="87" creationId="{00000000-0000-0000-0000-000000000000}"/>
          </ac:spMkLst>
        </pc:spChg>
        <pc:spChg chg="mod">
          <ac:chgData name="Zhu Arena, GFTIOV, BCOM" userId="a49f412c-db83-45d3-9142-dc597ff7d65b" providerId="ADAL" clId="{46FD2C16-79FF-4FFE-BCE3-742826F5B8DC}" dt="2023-06-15T08:00:17.118" v="4795" actId="790"/>
          <ac:spMkLst>
            <pc:docMk/>
            <pc:sldMk cId="1406992056" sldId="779"/>
            <ac:spMk id="88" creationId="{00000000-0000-0000-0000-000000000000}"/>
          </ac:spMkLst>
        </pc:spChg>
        <pc:spChg chg="mod">
          <ac:chgData name="Zhu Arena, GFTIOV, BCOM" userId="a49f412c-db83-45d3-9142-dc597ff7d65b" providerId="ADAL" clId="{46FD2C16-79FF-4FFE-BCE3-742826F5B8DC}" dt="2023-06-15T08:00:17.118" v="4796" actId="790"/>
          <ac:spMkLst>
            <pc:docMk/>
            <pc:sldMk cId="1406992056" sldId="779"/>
            <ac:spMk id="89" creationId="{00000000-0000-0000-0000-000000000000}"/>
          </ac:spMkLst>
        </pc:spChg>
        <pc:spChg chg="mod">
          <ac:chgData name="Zhu Arena, GFTIOV, BCOM" userId="a49f412c-db83-45d3-9142-dc597ff7d65b" providerId="ADAL" clId="{46FD2C16-79FF-4FFE-BCE3-742826F5B8DC}" dt="2023-06-15T08:00:17.118" v="4797" actId="790"/>
          <ac:spMkLst>
            <pc:docMk/>
            <pc:sldMk cId="1406992056" sldId="779"/>
            <ac:spMk id="90" creationId="{00000000-0000-0000-0000-000000000000}"/>
          </ac:spMkLst>
        </pc:spChg>
        <pc:spChg chg="mod">
          <ac:chgData name="Zhu Arena, GFTIOV, BCOM" userId="a49f412c-db83-45d3-9142-dc597ff7d65b" providerId="ADAL" clId="{46FD2C16-79FF-4FFE-BCE3-742826F5B8DC}" dt="2023-06-15T08:00:17.118" v="4798" actId="790"/>
          <ac:spMkLst>
            <pc:docMk/>
            <pc:sldMk cId="1406992056" sldId="779"/>
            <ac:spMk id="91" creationId="{00000000-0000-0000-0000-000000000000}"/>
          </ac:spMkLst>
        </pc:spChg>
        <pc:spChg chg="mod">
          <ac:chgData name="Zhu Arena, GFTIOV, BCOM" userId="a49f412c-db83-45d3-9142-dc597ff7d65b" providerId="ADAL" clId="{46FD2C16-79FF-4FFE-BCE3-742826F5B8DC}" dt="2023-06-15T08:00:17.118" v="4799" actId="790"/>
          <ac:spMkLst>
            <pc:docMk/>
            <pc:sldMk cId="1406992056" sldId="779"/>
            <ac:spMk id="92" creationId="{00000000-0000-0000-0000-000000000000}"/>
          </ac:spMkLst>
        </pc:spChg>
        <pc:spChg chg="mod">
          <ac:chgData name="Zhu Arena, GFTIOV, BCOM" userId="a49f412c-db83-45d3-9142-dc597ff7d65b" providerId="ADAL" clId="{46FD2C16-79FF-4FFE-BCE3-742826F5B8DC}" dt="2023-06-15T08:00:17.118" v="4800" actId="790"/>
          <ac:spMkLst>
            <pc:docMk/>
            <pc:sldMk cId="1406992056" sldId="779"/>
            <ac:spMk id="93" creationId="{00000000-0000-0000-0000-000000000000}"/>
          </ac:spMkLst>
        </pc:spChg>
        <pc:spChg chg="mod">
          <ac:chgData name="Zhu Arena, GFTIOV, BCOM" userId="a49f412c-db83-45d3-9142-dc597ff7d65b" providerId="ADAL" clId="{46FD2C16-79FF-4FFE-BCE3-742826F5B8DC}" dt="2023-06-15T08:00:17.134" v="4818" actId="790"/>
          <ac:spMkLst>
            <pc:docMk/>
            <pc:sldMk cId="1406992056" sldId="779"/>
            <ac:spMk id="94" creationId="{00000000-0000-0000-0000-000000000000}"/>
          </ac:spMkLst>
        </pc:spChg>
        <pc:spChg chg="mod">
          <ac:chgData name="Zhu Arena, GFTIOV, BCOM" userId="a49f412c-db83-45d3-9142-dc597ff7d65b" providerId="ADAL" clId="{46FD2C16-79FF-4FFE-BCE3-742826F5B8DC}" dt="2023-06-15T08:00:17.118" v="4801" actId="790"/>
          <ac:spMkLst>
            <pc:docMk/>
            <pc:sldMk cId="1406992056" sldId="779"/>
            <ac:spMk id="99" creationId="{00000000-0000-0000-0000-000000000000}"/>
          </ac:spMkLst>
        </pc:spChg>
        <pc:spChg chg="mod">
          <ac:chgData name="Zhu Arena, GFTIOV, BCOM" userId="a49f412c-db83-45d3-9142-dc597ff7d65b" providerId="ADAL" clId="{46FD2C16-79FF-4FFE-BCE3-742826F5B8DC}" dt="2023-06-15T08:00:17.118" v="4802" actId="790"/>
          <ac:spMkLst>
            <pc:docMk/>
            <pc:sldMk cId="1406992056" sldId="779"/>
            <ac:spMk id="100" creationId="{00000000-0000-0000-0000-000000000000}"/>
          </ac:spMkLst>
        </pc:spChg>
        <pc:spChg chg="mod">
          <ac:chgData name="Zhu Arena, GFTIOV, BCOM" userId="a49f412c-db83-45d3-9142-dc597ff7d65b" providerId="ADAL" clId="{46FD2C16-79FF-4FFE-BCE3-742826F5B8DC}" dt="2023-06-15T08:00:17.134" v="4819" actId="790"/>
          <ac:spMkLst>
            <pc:docMk/>
            <pc:sldMk cId="1406992056" sldId="779"/>
            <ac:spMk id="101" creationId="{00000000-0000-0000-0000-000000000000}"/>
          </ac:spMkLst>
        </pc:spChg>
        <pc:spChg chg="mod">
          <ac:chgData name="Zhu Arena, GFTIOV, BCOM" userId="a49f412c-db83-45d3-9142-dc597ff7d65b" providerId="ADAL" clId="{46FD2C16-79FF-4FFE-BCE3-742826F5B8DC}" dt="2023-06-15T08:00:17.134" v="4820" actId="790"/>
          <ac:spMkLst>
            <pc:docMk/>
            <pc:sldMk cId="1406992056" sldId="779"/>
            <ac:spMk id="102" creationId="{00000000-0000-0000-0000-000000000000}"/>
          </ac:spMkLst>
        </pc:spChg>
        <pc:spChg chg="mod">
          <ac:chgData name="Zhu Arena, GFTIOV, BCOM" userId="a49f412c-db83-45d3-9142-dc597ff7d65b" providerId="ADAL" clId="{46FD2C16-79FF-4FFE-BCE3-742826F5B8DC}" dt="2023-06-15T08:00:17.134" v="4821" actId="790"/>
          <ac:spMkLst>
            <pc:docMk/>
            <pc:sldMk cId="1406992056" sldId="779"/>
            <ac:spMk id="104" creationId="{00000000-0000-0000-0000-000000000000}"/>
          </ac:spMkLst>
        </pc:spChg>
        <pc:spChg chg="mod">
          <ac:chgData name="Zhu Arena, GFTIOV, BCOM" userId="a49f412c-db83-45d3-9142-dc597ff7d65b" providerId="ADAL" clId="{46FD2C16-79FF-4FFE-BCE3-742826F5B8DC}" dt="2023-06-15T08:00:17.134" v="4822" actId="790"/>
          <ac:spMkLst>
            <pc:docMk/>
            <pc:sldMk cId="1406992056" sldId="779"/>
            <ac:spMk id="105" creationId="{00000000-0000-0000-0000-000000000000}"/>
          </ac:spMkLst>
        </pc:spChg>
        <pc:spChg chg="mod">
          <ac:chgData name="Zhu Arena, GFTIOV, BCOM" userId="a49f412c-db83-45d3-9142-dc597ff7d65b" providerId="ADAL" clId="{46FD2C16-79FF-4FFE-BCE3-742826F5B8DC}" dt="2023-06-15T08:00:17.126" v="4806" actId="790"/>
          <ac:spMkLst>
            <pc:docMk/>
            <pc:sldMk cId="1406992056" sldId="779"/>
            <ac:spMk id="106" creationId="{DAADDDC7-4352-401E-8C8B-E8A05D523CCD}"/>
          </ac:spMkLst>
        </pc:spChg>
        <pc:spChg chg="mod">
          <ac:chgData name="Zhu Arena, GFTIOV, BCOM" userId="a49f412c-db83-45d3-9142-dc597ff7d65b" providerId="ADAL" clId="{46FD2C16-79FF-4FFE-BCE3-742826F5B8DC}" dt="2023-06-15T08:00:17.118" v="4803" actId="790"/>
          <ac:spMkLst>
            <pc:docMk/>
            <pc:sldMk cId="1406992056" sldId="779"/>
            <ac:spMk id="132" creationId="{00000000-0000-0000-0000-000000000000}"/>
          </ac:spMkLst>
        </pc:spChg>
        <pc:spChg chg="mod">
          <ac:chgData name="Zhu Arena, GFTIOV, BCOM" userId="a49f412c-db83-45d3-9142-dc597ff7d65b" providerId="ADAL" clId="{46FD2C16-79FF-4FFE-BCE3-742826F5B8DC}" dt="2023-06-15T08:00:17.118" v="4804" actId="790"/>
          <ac:spMkLst>
            <pc:docMk/>
            <pc:sldMk cId="1406992056" sldId="779"/>
            <ac:spMk id="133" creationId="{00000000-0000-0000-0000-000000000000}"/>
          </ac:spMkLst>
        </pc:spChg>
      </pc:sldChg>
      <pc:sldChg chg="del">
        <pc:chgData name="Zhu Arena, GFTIOV, BCOM" userId="a49f412c-db83-45d3-9142-dc597ff7d65b" providerId="ADAL" clId="{46FD2C16-79FF-4FFE-BCE3-742826F5B8DC}" dt="2023-06-14T11:40:31.100" v="1306" actId="47"/>
        <pc:sldMkLst>
          <pc:docMk/>
          <pc:sldMk cId="3225000591" sldId="922"/>
        </pc:sldMkLst>
      </pc:sldChg>
      <pc:sldChg chg="addSp delSp add del mod">
        <pc:chgData name="Zhu Arena, GFTIOV, BCOM" userId="a49f412c-db83-45d3-9142-dc597ff7d65b" providerId="ADAL" clId="{46FD2C16-79FF-4FFE-BCE3-742826F5B8DC}" dt="2023-06-15T09:09:15.362" v="5023" actId="47"/>
        <pc:sldMkLst>
          <pc:docMk/>
          <pc:sldMk cId="0" sldId="16140982"/>
        </pc:sldMkLst>
        <pc:picChg chg="add del">
          <ac:chgData name="Zhu Arena, GFTIOV, BCOM" userId="a49f412c-db83-45d3-9142-dc597ff7d65b" providerId="ADAL" clId="{46FD2C16-79FF-4FFE-BCE3-742826F5B8DC}" dt="2023-06-15T09:08:40.776" v="5018" actId="478"/>
          <ac:picMkLst>
            <pc:docMk/>
            <pc:sldMk cId="0" sldId="16140982"/>
            <ac:picMk id="5" creationId="{00000000-0000-0000-0000-000000000000}"/>
          </ac:picMkLst>
        </pc:picChg>
      </pc:sldChg>
      <pc:sldChg chg="addSp delSp modSp add del mod modClrScheme chgLayout modNotesTx">
        <pc:chgData name="Zhu Arena, GFTIOV, BCOM" userId="a49f412c-db83-45d3-9142-dc597ff7d65b" providerId="ADAL" clId="{46FD2C16-79FF-4FFE-BCE3-742826F5B8DC}" dt="2023-06-15T05:39:52.242" v="3410" actId="47"/>
        <pc:sldMkLst>
          <pc:docMk/>
          <pc:sldMk cId="0" sldId="16140986"/>
        </pc:sldMkLst>
        <pc:spChg chg="mod ord">
          <ac:chgData name="Zhu Arena, GFTIOV, BCOM" userId="a49f412c-db83-45d3-9142-dc597ff7d65b" providerId="ADAL" clId="{46FD2C16-79FF-4FFE-BCE3-742826F5B8DC}" dt="2023-06-14T13:26:14.351" v="2404" actId="700"/>
          <ac:spMkLst>
            <pc:docMk/>
            <pc:sldMk cId="0" sldId="16140986"/>
            <ac:spMk id="2" creationId="{00000000-0000-0000-0000-000000000000}"/>
          </ac:spMkLst>
        </pc:spChg>
        <pc:spChg chg="del">
          <ac:chgData name="Zhu Arena, GFTIOV, BCOM" userId="a49f412c-db83-45d3-9142-dc597ff7d65b" providerId="ADAL" clId="{46FD2C16-79FF-4FFE-BCE3-742826F5B8DC}" dt="2023-06-14T13:12:44.983" v="2016" actId="478"/>
          <ac:spMkLst>
            <pc:docMk/>
            <pc:sldMk cId="0" sldId="16140986"/>
            <ac:spMk id="6" creationId="{00000000-0000-0000-0000-000000000000}"/>
          </ac:spMkLst>
        </pc:spChg>
        <pc:spChg chg="del mod topLvl">
          <ac:chgData name="Zhu Arena, GFTIOV, BCOM" userId="a49f412c-db83-45d3-9142-dc597ff7d65b" providerId="ADAL" clId="{46FD2C16-79FF-4FFE-BCE3-742826F5B8DC}" dt="2023-06-14T13:17:01.889" v="2292" actId="478"/>
          <ac:spMkLst>
            <pc:docMk/>
            <pc:sldMk cId="0" sldId="16140986"/>
            <ac:spMk id="8" creationId="{00000000-0000-0000-0000-000000000000}"/>
          </ac:spMkLst>
        </pc:spChg>
        <pc:spChg chg="del mod topLvl">
          <ac:chgData name="Zhu Arena, GFTIOV, BCOM" userId="a49f412c-db83-45d3-9142-dc597ff7d65b" providerId="ADAL" clId="{46FD2C16-79FF-4FFE-BCE3-742826F5B8DC}" dt="2023-06-14T13:17:25.855" v="2296" actId="478"/>
          <ac:spMkLst>
            <pc:docMk/>
            <pc:sldMk cId="0" sldId="16140986"/>
            <ac:spMk id="9" creationId="{00000000-0000-0000-0000-000000000000}"/>
          </ac:spMkLst>
        </pc:spChg>
        <pc:spChg chg="mod">
          <ac:chgData name="Zhu Arena, GFTIOV, BCOM" userId="a49f412c-db83-45d3-9142-dc597ff7d65b" providerId="ADAL" clId="{46FD2C16-79FF-4FFE-BCE3-742826F5B8DC}" dt="2023-06-14T13:13:02.855" v="2185" actId="790"/>
          <ac:spMkLst>
            <pc:docMk/>
            <pc:sldMk cId="0" sldId="16140986"/>
            <ac:spMk id="11" creationId="{00000000-0000-0000-0000-000000000000}"/>
          </ac:spMkLst>
        </pc:spChg>
        <pc:spChg chg="mod">
          <ac:chgData name="Zhu Arena, GFTIOV, BCOM" userId="a49f412c-db83-45d3-9142-dc597ff7d65b" providerId="ADAL" clId="{46FD2C16-79FF-4FFE-BCE3-742826F5B8DC}" dt="2023-06-14T13:13:02.855" v="2186" actId="790"/>
          <ac:spMkLst>
            <pc:docMk/>
            <pc:sldMk cId="0" sldId="16140986"/>
            <ac:spMk id="12" creationId="{00000000-0000-0000-0000-000000000000}"/>
          </ac:spMkLst>
        </pc:spChg>
        <pc:spChg chg="mod">
          <ac:chgData name="Zhu Arena, GFTIOV, BCOM" userId="a49f412c-db83-45d3-9142-dc597ff7d65b" providerId="ADAL" clId="{46FD2C16-79FF-4FFE-BCE3-742826F5B8DC}" dt="2023-06-14T13:13:02.863" v="2187" actId="790"/>
          <ac:spMkLst>
            <pc:docMk/>
            <pc:sldMk cId="0" sldId="16140986"/>
            <ac:spMk id="13" creationId="{00000000-0000-0000-0000-000000000000}"/>
          </ac:spMkLst>
        </pc:spChg>
        <pc:spChg chg="mod">
          <ac:chgData name="Zhu Arena, GFTIOV, BCOM" userId="a49f412c-db83-45d3-9142-dc597ff7d65b" providerId="ADAL" clId="{46FD2C16-79FF-4FFE-BCE3-742826F5B8DC}" dt="2023-06-14T13:13:02.863" v="2188" actId="790"/>
          <ac:spMkLst>
            <pc:docMk/>
            <pc:sldMk cId="0" sldId="16140986"/>
            <ac:spMk id="15" creationId="{00000000-0000-0000-0000-000000000000}"/>
          </ac:spMkLst>
        </pc:spChg>
        <pc:spChg chg="mod">
          <ac:chgData name="Zhu Arena, GFTIOV, BCOM" userId="a49f412c-db83-45d3-9142-dc597ff7d65b" providerId="ADAL" clId="{46FD2C16-79FF-4FFE-BCE3-742826F5B8DC}" dt="2023-06-14T13:13:02.863" v="2189" actId="790"/>
          <ac:spMkLst>
            <pc:docMk/>
            <pc:sldMk cId="0" sldId="16140986"/>
            <ac:spMk id="16" creationId="{00000000-0000-0000-0000-000000000000}"/>
          </ac:spMkLst>
        </pc:spChg>
        <pc:spChg chg="mod">
          <ac:chgData name="Zhu Arena, GFTIOV, BCOM" userId="a49f412c-db83-45d3-9142-dc597ff7d65b" providerId="ADAL" clId="{46FD2C16-79FF-4FFE-BCE3-742826F5B8DC}" dt="2023-06-14T13:13:02.863" v="2190" actId="790"/>
          <ac:spMkLst>
            <pc:docMk/>
            <pc:sldMk cId="0" sldId="16140986"/>
            <ac:spMk id="18" creationId="{00000000-0000-0000-0000-000000000000}"/>
          </ac:spMkLst>
        </pc:spChg>
        <pc:spChg chg="mod">
          <ac:chgData name="Zhu Arena, GFTIOV, BCOM" userId="a49f412c-db83-45d3-9142-dc597ff7d65b" providerId="ADAL" clId="{46FD2C16-79FF-4FFE-BCE3-742826F5B8DC}" dt="2023-06-14T13:13:02.863" v="2191" actId="790"/>
          <ac:spMkLst>
            <pc:docMk/>
            <pc:sldMk cId="0" sldId="16140986"/>
            <ac:spMk id="19" creationId="{00000000-0000-0000-0000-000000000000}"/>
          </ac:spMkLst>
        </pc:spChg>
        <pc:spChg chg="mod">
          <ac:chgData name="Zhu Arena, GFTIOV, BCOM" userId="a49f412c-db83-45d3-9142-dc597ff7d65b" providerId="ADAL" clId="{46FD2C16-79FF-4FFE-BCE3-742826F5B8DC}" dt="2023-06-14T13:13:02.863" v="2192" actId="790"/>
          <ac:spMkLst>
            <pc:docMk/>
            <pc:sldMk cId="0" sldId="16140986"/>
            <ac:spMk id="20" creationId="{00000000-0000-0000-0000-000000000000}"/>
          </ac:spMkLst>
        </pc:spChg>
        <pc:spChg chg="del mod">
          <ac:chgData name="Zhu Arena, GFTIOV, BCOM" userId="a49f412c-db83-45d3-9142-dc597ff7d65b" providerId="ADAL" clId="{46FD2C16-79FF-4FFE-BCE3-742826F5B8DC}" dt="2023-06-14T13:17:19.324" v="2294" actId="478"/>
          <ac:spMkLst>
            <pc:docMk/>
            <pc:sldMk cId="0" sldId="16140986"/>
            <ac:spMk id="21" creationId="{00000000-0000-0000-0000-000000000000}"/>
          </ac:spMkLst>
        </pc:spChg>
        <pc:spChg chg="del mod">
          <ac:chgData name="Zhu Arena, GFTIOV, BCOM" userId="a49f412c-db83-45d3-9142-dc597ff7d65b" providerId="ADAL" clId="{46FD2C16-79FF-4FFE-BCE3-742826F5B8DC}" dt="2023-06-14T13:17:19.324" v="2294" actId="478"/>
          <ac:spMkLst>
            <pc:docMk/>
            <pc:sldMk cId="0" sldId="16140986"/>
            <ac:spMk id="22" creationId="{00000000-0000-0000-0000-000000000000}"/>
          </ac:spMkLst>
        </pc:spChg>
        <pc:spChg chg="del mod">
          <ac:chgData name="Zhu Arena, GFTIOV, BCOM" userId="a49f412c-db83-45d3-9142-dc597ff7d65b" providerId="ADAL" clId="{46FD2C16-79FF-4FFE-BCE3-742826F5B8DC}" dt="2023-06-14T13:17:29.261" v="2297" actId="478"/>
          <ac:spMkLst>
            <pc:docMk/>
            <pc:sldMk cId="0" sldId="16140986"/>
            <ac:spMk id="23" creationId="{00000000-0000-0000-0000-000000000000}"/>
          </ac:spMkLst>
        </pc:spChg>
        <pc:spChg chg="add del mod">
          <ac:chgData name="Zhu Arena, GFTIOV, BCOM" userId="a49f412c-db83-45d3-9142-dc597ff7d65b" providerId="ADAL" clId="{46FD2C16-79FF-4FFE-BCE3-742826F5B8DC}" dt="2023-06-14T13:20:27.798" v="2347" actId="21"/>
          <ac:spMkLst>
            <pc:docMk/>
            <pc:sldMk cId="0" sldId="16140986"/>
            <ac:spMk id="24" creationId="{83BADB15-D1EE-2036-686A-E0419CD4396A}"/>
          </ac:spMkLst>
        </pc:spChg>
        <pc:spChg chg="add del mod">
          <ac:chgData name="Zhu Arena, GFTIOV, BCOM" userId="a49f412c-db83-45d3-9142-dc597ff7d65b" providerId="ADAL" clId="{46FD2C16-79FF-4FFE-BCE3-742826F5B8DC}" dt="2023-06-14T13:20:44.729" v="2350" actId="21"/>
          <ac:spMkLst>
            <pc:docMk/>
            <pc:sldMk cId="0" sldId="16140986"/>
            <ac:spMk id="28" creationId="{F487D4A0-6959-B178-4762-08734394184D}"/>
          </ac:spMkLst>
        </pc:spChg>
        <pc:spChg chg="add del mod">
          <ac:chgData name="Zhu Arena, GFTIOV, BCOM" userId="a49f412c-db83-45d3-9142-dc597ff7d65b" providerId="ADAL" clId="{46FD2C16-79FF-4FFE-BCE3-742826F5B8DC}" dt="2023-06-14T13:20:44.729" v="2350" actId="21"/>
          <ac:spMkLst>
            <pc:docMk/>
            <pc:sldMk cId="0" sldId="16140986"/>
            <ac:spMk id="29" creationId="{DEDB2DD5-01BA-4D85-CD39-66745140B3A9}"/>
          </ac:spMkLst>
        </pc:spChg>
        <pc:spChg chg="add del mod">
          <ac:chgData name="Zhu Arena, GFTIOV, BCOM" userId="a49f412c-db83-45d3-9142-dc597ff7d65b" providerId="ADAL" clId="{46FD2C16-79FF-4FFE-BCE3-742826F5B8DC}" dt="2023-06-14T13:20:44.729" v="2350" actId="21"/>
          <ac:spMkLst>
            <pc:docMk/>
            <pc:sldMk cId="0" sldId="16140986"/>
            <ac:spMk id="30" creationId="{F0B7EBB4-F7C7-591D-4119-3F982DA143B0}"/>
          </ac:spMkLst>
        </pc:spChg>
        <pc:spChg chg="add del mod">
          <ac:chgData name="Zhu Arena, GFTIOV, BCOM" userId="a49f412c-db83-45d3-9142-dc597ff7d65b" providerId="ADAL" clId="{46FD2C16-79FF-4FFE-BCE3-742826F5B8DC}" dt="2023-06-14T13:16:02.598" v="2253" actId="22"/>
          <ac:spMkLst>
            <pc:docMk/>
            <pc:sldMk cId="0" sldId="16140986"/>
            <ac:spMk id="32" creationId="{673732AD-B1C6-1855-445C-8C264C7EC0F4}"/>
          </ac:spMkLst>
        </pc:spChg>
        <pc:spChg chg="add del mod">
          <ac:chgData name="Zhu Arena, GFTIOV, BCOM" userId="a49f412c-db83-45d3-9142-dc597ff7d65b" providerId="ADAL" clId="{46FD2C16-79FF-4FFE-BCE3-742826F5B8DC}" dt="2023-06-14T13:20:44.729" v="2350" actId="21"/>
          <ac:spMkLst>
            <pc:docMk/>
            <pc:sldMk cId="0" sldId="16140986"/>
            <ac:spMk id="33" creationId="{AA7F0BFB-3348-ABAF-2CF0-99C89C9B04F3}"/>
          </ac:spMkLst>
        </pc:spChg>
        <pc:spChg chg="add del mod">
          <ac:chgData name="Zhu Arena, GFTIOV, BCOM" userId="a49f412c-db83-45d3-9142-dc597ff7d65b" providerId="ADAL" clId="{46FD2C16-79FF-4FFE-BCE3-742826F5B8DC}" dt="2023-06-14T13:20:44.729" v="2350" actId="21"/>
          <ac:spMkLst>
            <pc:docMk/>
            <pc:sldMk cId="0" sldId="16140986"/>
            <ac:spMk id="34" creationId="{60ED1D15-41D0-3716-0130-0CE1A3F2D2F6}"/>
          </ac:spMkLst>
        </pc:spChg>
        <pc:spChg chg="add del mod">
          <ac:chgData name="Zhu Arena, GFTIOV, BCOM" userId="a49f412c-db83-45d3-9142-dc597ff7d65b" providerId="ADAL" clId="{46FD2C16-79FF-4FFE-BCE3-742826F5B8DC}" dt="2023-06-14T13:20:44.729" v="2350" actId="21"/>
          <ac:spMkLst>
            <pc:docMk/>
            <pc:sldMk cId="0" sldId="16140986"/>
            <ac:spMk id="35" creationId="{15220291-5E8B-C6A3-D290-C7558B43D185}"/>
          </ac:spMkLst>
        </pc:spChg>
        <pc:spChg chg="add mod">
          <ac:chgData name="Zhu Arena, GFTIOV, BCOM" userId="a49f412c-db83-45d3-9142-dc597ff7d65b" providerId="ADAL" clId="{46FD2C16-79FF-4FFE-BCE3-742826F5B8DC}" dt="2023-06-14T13:26:35.959" v="2406" actId="14100"/>
          <ac:spMkLst>
            <pc:docMk/>
            <pc:sldMk cId="0" sldId="16140986"/>
            <ac:spMk id="36" creationId="{EBC13BFC-C9C0-EDB4-BA93-891CE6B9B2FA}"/>
          </ac:spMkLst>
        </pc:spChg>
        <pc:spChg chg="add mod">
          <ac:chgData name="Zhu Arena, GFTIOV, BCOM" userId="a49f412c-db83-45d3-9142-dc597ff7d65b" providerId="ADAL" clId="{46FD2C16-79FF-4FFE-BCE3-742826F5B8DC}" dt="2023-06-14T13:37:55.797" v="2614" actId="1037"/>
          <ac:spMkLst>
            <pc:docMk/>
            <pc:sldMk cId="0" sldId="16140986"/>
            <ac:spMk id="37" creationId="{08A7F200-BE35-9073-1654-74B1957D3312}"/>
          </ac:spMkLst>
        </pc:spChg>
        <pc:spChg chg="add mod">
          <ac:chgData name="Zhu Arena, GFTIOV, BCOM" userId="a49f412c-db83-45d3-9142-dc597ff7d65b" providerId="ADAL" clId="{46FD2C16-79FF-4FFE-BCE3-742826F5B8DC}" dt="2023-06-14T13:37:55.797" v="2614" actId="1037"/>
          <ac:spMkLst>
            <pc:docMk/>
            <pc:sldMk cId="0" sldId="16140986"/>
            <ac:spMk id="38" creationId="{C8D1ABB3-9E7A-E391-7988-6AA9C1A0A538}"/>
          </ac:spMkLst>
        </pc:spChg>
        <pc:spChg chg="add mod">
          <ac:chgData name="Zhu Arena, GFTIOV, BCOM" userId="a49f412c-db83-45d3-9142-dc597ff7d65b" providerId="ADAL" clId="{46FD2C16-79FF-4FFE-BCE3-742826F5B8DC}" dt="2023-06-14T13:37:55.797" v="2614" actId="1037"/>
          <ac:spMkLst>
            <pc:docMk/>
            <pc:sldMk cId="0" sldId="16140986"/>
            <ac:spMk id="39" creationId="{771156DF-7E49-D651-E578-7D73B5E21AB1}"/>
          </ac:spMkLst>
        </pc:spChg>
        <pc:spChg chg="add mod">
          <ac:chgData name="Zhu Arena, GFTIOV, BCOM" userId="a49f412c-db83-45d3-9142-dc597ff7d65b" providerId="ADAL" clId="{46FD2C16-79FF-4FFE-BCE3-742826F5B8DC}" dt="2023-06-14T13:37:55.797" v="2614" actId="1037"/>
          <ac:spMkLst>
            <pc:docMk/>
            <pc:sldMk cId="0" sldId="16140986"/>
            <ac:spMk id="40" creationId="{4AAAF5EC-ACC5-24DB-1D76-5C0BB6864DCE}"/>
          </ac:spMkLst>
        </pc:spChg>
        <pc:spChg chg="add mod">
          <ac:chgData name="Zhu Arena, GFTIOV, BCOM" userId="a49f412c-db83-45d3-9142-dc597ff7d65b" providerId="ADAL" clId="{46FD2C16-79FF-4FFE-BCE3-742826F5B8DC}" dt="2023-06-14T13:37:55.797" v="2614" actId="1037"/>
          <ac:spMkLst>
            <pc:docMk/>
            <pc:sldMk cId="0" sldId="16140986"/>
            <ac:spMk id="41" creationId="{1DC746BE-13AC-1A70-10E4-D72E888D797C}"/>
          </ac:spMkLst>
        </pc:spChg>
        <pc:spChg chg="add mod">
          <ac:chgData name="Zhu Arena, GFTIOV, BCOM" userId="a49f412c-db83-45d3-9142-dc597ff7d65b" providerId="ADAL" clId="{46FD2C16-79FF-4FFE-BCE3-742826F5B8DC}" dt="2023-06-14T13:37:55.797" v="2614" actId="1037"/>
          <ac:spMkLst>
            <pc:docMk/>
            <pc:sldMk cId="0" sldId="16140986"/>
            <ac:spMk id="42" creationId="{A61C06B1-9339-2F9F-F0AD-38FD0391C39A}"/>
          </ac:spMkLst>
        </pc:spChg>
        <pc:spChg chg="add del mod ord">
          <ac:chgData name="Zhu Arena, GFTIOV, BCOM" userId="a49f412c-db83-45d3-9142-dc597ff7d65b" providerId="ADAL" clId="{46FD2C16-79FF-4FFE-BCE3-742826F5B8DC}" dt="2023-06-14T13:26:14.351" v="2404" actId="700"/>
          <ac:spMkLst>
            <pc:docMk/>
            <pc:sldMk cId="0" sldId="16140986"/>
            <ac:spMk id="43" creationId="{9392BDA1-AD78-A380-4CF3-67A3AEF07BC3}"/>
          </ac:spMkLst>
        </pc:spChg>
        <pc:spChg chg="add del mod ord">
          <ac:chgData name="Zhu Arena, GFTIOV, BCOM" userId="a49f412c-db83-45d3-9142-dc597ff7d65b" providerId="ADAL" clId="{46FD2C16-79FF-4FFE-BCE3-742826F5B8DC}" dt="2023-06-14T13:26:14.351" v="2404" actId="700"/>
          <ac:spMkLst>
            <pc:docMk/>
            <pc:sldMk cId="0" sldId="16140986"/>
            <ac:spMk id="44" creationId="{59818B7F-E958-4CF9-768E-7B5D5F9985E7}"/>
          </ac:spMkLst>
        </pc:spChg>
        <pc:grpChg chg="del">
          <ac:chgData name="Zhu Arena, GFTIOV, BCOM" userId="a49f412c-db83-45d3-9142-dc597ff7d65b" providerId="ADAL" clId="{46FD2C16-79FF-4FFE-BCE3-742826F5B8DC}" dt="2023-06-14T13:17:01.889" v="2292" actId="478"/>
          <ac:grpSpMkLst>
            <pc:docMk/>
            <pc:sldMk cId="0" sldId="16140986"/>
            <ac:grpSpMk id="7" creationId="{00000000-0000-0000-0000-000000000000}"/>
          </ac:grpSpMkLst>
        </pc:grpChg>
        <pc:grpChg chg="del">
          <ac:chgData name="Zhu Arena, GFTIOV, BCOM" userId="a49f412c-db83-45d3-9142-dc597ff7d65b" providerId="ADAL" clId="{46FD2C16-79FF-4FFE-BCE3-742826F5B8DC}" dt="2023-06-14T13:17:19.324" v="2294" actId="478"/>
          <ac:grpSpMkLst>
            <pc:docMk/>
            <pc:sldMk cId="0" sldId="16140986"/>
            <ac:grpSpMk id="10" creationId="{00000000-0000-0000-0000-000000000000}"/>
          </ac:grpSpMkLst>
        </pc:grpChg>
        <pc:grpChg chg="del">
          <ac:chgData name="Zhu Arena, GFTIOV, BCOM" userId="a49f412c-db83-45d3-9142-dc597ff7d65b" providerId="ADAL" clId="{46FD2C16-79FF-4FFE-BCE3-742826F5B8DC}" dt="2023-06-14T13:17:21.867" v="2295" actId="478"/>
          <ac:grpSpMkLst>
            <pc:docMk/>
            <pc:sldMk cId="0" sldId="16140986"/>
            <ac:grpSpMk id="14" creationId="{00000000-0000-0000-0000-000000000000}"/>
          </ac:grpSpMkLst>
        </pc:grpChg>
        <pc:grpChg chg="del">
          <ac:chgData name="Zhu Arena, GFTIOV, BCOM" userId="a49f412c-db83-45d3-9142-dc597ff7d65b" providerId="ADAL" clId="{46FD2C16-79FF-4FFE-BCE3-742826F5B8DC}" dt="2023-06-14T13:17:19.324" v="2294" actId="478"/>
          <ac:grpSpMkLst>
            <pc:docMk/>
            <pc:sldMk cId="0" sldId="16140986"/>
            <ac:grpSpMk id="17" creationId="{00000000-0000-0000-0000-000000000000}"/>
          </ac:grpSpMkLst>
        </pc:grpChg>
        <pc:graphicFrameChg chg="add mod modGraphic">
          <ac:chgData name="Zhu Arena, GFTIOV, BCOM" userId="a49f412c-db83-45d3-9142-dc597ff7d65b" providerId="ADAL" clId="{46FD2C16-79FF-4FFE-BCE3-742826F5B8DC}" dt="2023-06-15T05:36:59.221" v="3362" actId="20577"/>
          <ac:graphicFrameMkLst>
            <pc:docMk/>
            <pc:sldMk cId="0" sldId="16140986"/>
            <ac:graphicFrameMk id="3" creationId="{39F011C3-7F33-3086-8C8F-0852F12F2D8E}"/>
          </ac:graphicFrameMkLst>
        </pc:graphicFrameChg>
        <pc:picChg chg="mod">
          <ac:chgData name="Zhu Arena, GFTIOV, BCOM" userId="a49f412c-db83-45d3-9142-dc597ff7d65b" providerId="ADAL" clId="{46FD2C16-79FF-4FFE-BCE3-742826F5B8DC}" dt="2023-06-14T13:11:06.035" v="1984" actId="1076"/>
          <ac:picMkLst>
            <pc:docMk/>
            <pc:sldMk cId="0" sldId="16140986"/>
            <ac:picMk id="4" creationId="{00000000-0000-0000-0000-000000000000}"/>
          </ac:picMkLst>
        </pc:picChg>
        <pc:picChg chg="add del mod">
          <ac:chgData name="Zhu Arena, GFTIOV, BCOM" userId="a49f412c-db83-45d3-9142-dc597ff7d65b" providerId="ADAL" clId="{46FD2C16-79FF-4FFE-BCE3-742826F5B8DC}" dt="2023-06-14T13:11:14.043" v="1986" actId="21"/>
          <ac:picMkLst>
            <pc:docMk/>
            <pc:sldMk cId="0" sldId="16140986"/>
            <ac:picMk id="5" creationId="{00000000-0000-0000-0000-000000000000}"/>
          </ac:picMkLst>
        </pc:picChg>
        <pc:picChg chg="add del mod">
          <ac:chgData name="Zhu Arena, GFTIOV, BCOM" userId="a49f412c-db83-45d3-9142-dc597ff7d65b" providerId="ADAL" clId="{46FD2C16-79FF-4FFE-BCE3-742826F5B8DC}" dt="2023-06-14T13:15:05.953" v="2245" actId="478"/>
          <ac:picMkLst>
            <pc:docMk/>
            <pc:sldMk cId="0" sldId="16140986"/>
            <ac:picMk id="25" creationId="{894D5B5C-AFC1-9E32-E20C-39689D554491}"/>
          </ac:picMkLst>
        </pc:picChg>
        <pc:picChg chg="add del mod">
          <ac:chgData name="Zhu Arena, GFTIOV, BCOM" userId="a49f412c-db83-45d3-9142-dc597ff7d65b" providerId="ADAL" clId="{46FD2C16-79FF-4FFE-BCE3-742826F5B8DC}" dt="2023-06-14T13:15:07.752" v="2246" actId="478"/>
          <ac:picMkLst>
            <pc:docMk/>
            <pc:sldMk cId="0" sldId="16140986"/>
            <ac:picMk id="26" creationId="{04B597B7-A3C2-C210-0DA6-406654BB50BF}"/>
          </ac:picMkLst>
        </pc:picChg>
        <pc:picChg chg="add del mod">
          <ac:chgData name="Zhu Arena, GFTIOV, BCOM" userId="a49f412c-db83-45d3-9142-dc597ff7d65b" providerId="ADAL" clId="{46FD2C16-79FF-4FFE-BCE3-742826F5B8DC}" dt="2023-06-14T13:15:03.869" v="2244" actId="478"/>
          <ac:picMkLst>
            <pc:docMk/>
            <pc:sldMk cId="0" sldId="16140986"/>
            <ac:picMk id="27" creationId="{489D32AF-1E70-37AE-29BA-22415F272370}"/>
          </ac:picMkLst>
        </pc:picChg>
      </pc:sldChg>
      <pc:sldChg chg="del">
        <pc:chgData name="Zhu Arena, GFTIOV, BCOM" userId="a49f412c-db83-45d3-9142-dc597ff7d65b" providerId="ADAL" clId="{46FD2C16-79FF-4FFE-BCE3-742826F5B8DC}" dt="2023-06-14T08:52:14.033" v="361" actId="47"/>
        <pc:sldMkLst>
          <pc:docMk/>
          <pc:sldMk cId="0" sldId="16764338"/>
        </pc:sldMkLst>
      </pc:sldChg>
      <pc:sldChg chg="addSp delSp modSp add del mod ord modShow">
        <pc:chgData name="Zhu Arena, GFTIOV, BCOM" userId="a49f412c-db83-45d3-9142-dc597ff7d65b" providerId="ADAL" clId="{46FD2C16-79FF-4FFE-BCE3-742826F5B8DC}" dt="2023-06-14T13:26:30.017" v="2405" actId="47"/>
        <pc:sldMkLst>
          <pc:docMk/>
          <pc:sldMk cId="0" sldId="16772060"/>
        </pc:sldMkLst>
        <pc:spChg chg="mod">
          <ac:chgData name="Zhu Arena, GFTIOV, BCOM" userId="a49f412c-db83-45d3-9142-dc597ff7d65b" providerId="ADAL" clId="{46FD2C16-79FF-4FFE-BCE3-742826F5B8DC}" dt="2023-06-14T13:13:02.740" v="2096" actId="790"/>
          <ac:spMkLst>
            <pc:docMk/>
            <pc:sldMk cId="0" sldId="16772060"/>
            <ac:spMk id="6" creationId="{00000000-0000-0000-0000-000000000000}"/>
          </ac:spMkLst>
        </pc:spChg>
        <pc:spChg chg="del">
          <ac:chgData name="Zhu Arena, GFTIOV, BCOM" userId="a49f412c-db83-45d3-9142-dc597ff7d65b" providerId="ADAL" clId="{46FD2C16-79FF-4FFE-BCE3-742826F5B8DC}" dt="2023-06-14T11:56:48.482" v="1353" actId="478"/>
          <ac:spMkLst>
            <pc:docMk/>
            <pc:sldMk cId="0" sldId="16772060"/>
            <ac:spMk id="10" creationId="{00000000-0000-0000-0000-000000000000}"/>
          </ac:spMkLst>
        </pc:spChg>
        <pc:spChg chg="del">
          <ac:chgData name="Zhu Arena, GFTIOV, BCOM" userId="a49f412c-db83-45d3-9142-dc597ff7d65b" providerId="ADAL" clId="{46FD2C16-79FF-4FFE-BCE3-742826F5B8DC}" dt="2023-06-14T11:56:51.035" v="1354" actId="478"/>
          <ac:spMkLst>
            <pc:docMk/>
            <pc:sldMk cId="0" sldId="16772060"/>
            <ac:spMk id="11" creationId="{00000000-0000-0000-0000-000000000000}"/>
          </ac:spMkLst>
        </pc:spChg>
        <pc:spChg chg="mod">
          <ac:chgData name="Zhu Arena, GFTIOV, BCOM" userId="a49f412c-db83-45d3-9142-dc597ff7d65b" providerId="ADAL" clId="{46FD2C16-79FF-4FFE-BCE3-742826F5B8DC}" dt="2023-06-14T13:13:02.740" v="2097" actId="790"/>
          <ac:spMkLst>
            <pc:docMk/>
            <pc:sldMk cId="0" sldId="16772060"/>
            <ac:spMk id="14" creationId="{00000000-0000-0000-0000-000000000000}"/>
          </ac:spMkLst>
        </pc:spChg>
        <pc:spChg chg="mod">
          <ac:chgData name="Zhu Arena, GFTIOV, BCOM" userId="a49f412c-db83-45d3-9142-dc597ff7d65b" providerId="ADAL" clId="{46FD2C16-79FF-4FFE-BCE3-742826F5B8DC}" dt="2023-06-14T13:13:02.740" v="2098" actId="790"/>
          <ac:spMkLst>
            <pc:docMk/>
            <pc:sldMk cId="0" sldId="16772060"/>
            <ac:spMk id="15" creationId="{00000000-0000-0000-0000-000000000000}"/>
          </ac:spMkLst>
        </pc:spChg>
        <pc:spChg chg="mod">
          <ac:chgData name="Zhu Arena, GFTIOV, BCOM" userId="a49f412c-db83-45d3-9142-dc597ff7d65b" providerId="ADAL" clId="{46FD2C16-79FF-4FFE-BCE3-742826F5B8DC}" dt="2023-06-14T13:13:02.748" v="2099" actId="790"/>
          <ac:spMkLst>
            <pc:docMk/>
            <pc:sldMk cId="0" sldId="16772060"/>
            <ac:spMk id="18" creationId="{00000000-0000-0000-0000-000000000000}"/>
          </ac:spMkLst>
        </pc:spChg>
        <pc:spChg chg="add mod">
          <ac:chgData name="Zhu Arena, GFTIOV, BCOM" userId="a49f412c-db83-45d3-9142-dc597ff7d65b" providerId="ADAL" clId="{46FD2C16-79FF-4FFE-BCE3-742826F5B8DC}" dt="2023-06-14T13:13:02.905" v="2238"/>
          <ac:spMkLst>
            <pc:docMk/>
            <pc:sldMk cId="0" sldId="16772060"/>
            <ac:spMk id="24" creationId="{FD625698-CA13-FD18-4F4C-0023CBCC3727}"/>
          </ac:spMkLst>
        </pc:spChg>
        <pc:spChg chg="add mod">
          <ac:chgData name="Zhu Arena, GFTIOV, BCOM" userId="a49f412c-db83-45d3-9142-dc597ff7d65b" providerId="ADAL" clId="{46FD2C16-79FF-4FFE-BCE3-742826F5B8DC}" dt="2023-06-14T13:13:02.905" v="2238"/>
          <ac:spMkLst>
            <pc:docMk/>
            <pc:sldMk cId="0" sldId="16772060"/>
            <ac:spMk id="25" creationId="{02D2E0FB-1C38-01C4-C9FD-737BC4961776}"/>
          </ac:spMkLst>
        </pc:spChg>
        <pc:spChg chg="add mod">
          <ac:chgData name="Zhu Arena, GFTIOV, BCOM" userId="a49f412c-db83-45d3-9142-dc597ff7d65b" providerId="ADAL" clId="{46FD2C16-79FF-4FFE-BCE3-742826F5B8DC}" dt="2023-06-14T13:24:54.554" v="2399" actId="1076"/>
          <ac:spMkLst>
            <pc:docMk/>
            <pc:sldMk cId="0" sldId="16772060"/>
            <ac:spMk id="26" creationId="{35AB6AEF-AE66-356F-3BF3-1145D667D63A}"/>
          </ac:spMkLst>
        </pc:spChg>
        <pc:spChg chg="add del mod">
          <ac:chgData name="Zhu Arena, GFTIOV, BCOM" userId="a49f412c-db83-45d3-9142-dc597ff7d65b" providerId="ADAL" clId="{46FD2C16-79FF-4FFE-BCE3-742826F5B8DC}" dt="2023-06-14T13:25:15.724" v="2400" actId="21"/>
          <ac:spMkLst>
            <pc:docMk/>
            <pc:sldMk cId="0" sldId="16772060"/>
            <ac:spMk id="27" creationId="{6FB2C117-38A8-CE9F-3895-F737E18C9A61}"/>
          </ac:spMkLst>
        </pc:spChg>
        <pc:spChg chg="add del mod">
          <ac:chgData name="Zhu Arena, GFTIOV, BCOM" userId="a49f412c-db83-45d3-9142-dc597ff7d65b" providerId="ADAL" clId="{46FD2C16-79FF-4FFE-BCE3-742826F5B8DC}" dt="2023-06-14T13:25:15.724" v="2400" actId="21"/>
          <ac:spMkLst>
            <pc:docMk/>
            <pc:sldMk cId="0" sldId="16772060"/>
            <ac:spMk id="28" creationId="{B59AC1CD-5920-80D0-519C-963891511864}"/>
          </ac:spMkLst>
        </pc:spChg>
        <pc:spChg chg="add del mod">
          <ac:chgData name="Zhu Arena, GFTIOV, BCOM" userId="a49f412c-db83-45d3-9142-dc597ff7d65b" providerId="ADAL" clId="{46FD2C16-79FF-4FFE-BCE3-742826F5B8DC}" dt="2023-06-14T13:25:15.724" v="2400" actId="21"/>
          <ac:spMkLst>
            <pc:docMk/>
            <pc:sldMk cId="0" sldId="16772060"/>
            <ac:spMk id="29" creationId="{DBED96F2-121F-01E9-825B-C98C54E6A500}"/>
          </ac:spMkLst>
        </pc:spChg>
        <pc:spChg chg="add del mod">
          <ac:chgData name="Zhu Arena, GFTIOV, BCOM" userId="a49f412c-db83-45d3-9142-dc597ff7d65b" providerId="ADAL" clId="{46FD2C16-79FF-4FFE-BCE3-742826F5B8DC}" dt="2023-06-14T13:25:15.724" v="2400" actId="21"/>
          <ac:spMkLst>
            <pc:docMk/>
            <pc:sldMk cId="0" sldId="16772060"/>
            <ac:spMk id="30" creationId="{730B0491-9D2A-5D6E-5DB0-45AEEF3A2372}"/>
          </ac:spMkLst>
        </pc:spChg>
        <pc:spChg chg="add del mod">
          <ac:chgData name="Zhu Arena, GFTIOV, BCOM" userId="a49f412c-db83-45d3-9142-dc597ff7d65b" providerId="ADAL" clId="{46FD2C16-79FF-4FFE-BCE3-742826F5B8DC}" dt="2023-06-14T13:25:15.724" v="2400" actId="21"/>
          <ac:spMkLst>
            <pc:docMk/>
            <pc:sldMk cId="0" sldId="16772060"/>
            <ac:spMk id="31" creationId="{63DA1A2E-8626-1530-E093-16DBD8842E43}"/>
          </ac:spMkLst>
        </pc:spChg>
        <pc:spChg chg="add del mod">
          <ac:chgData name="Zhu Arena, GFTIOV, BCOM" userId="a49f412c-db83-45d3-9142-dc597ff7d65b" providerId="ADAL" clId="{46FD2C16-79FF-4FFE-BCE3-742826F5B8DC}" dt="2023-06-14T13:25:15.724" v="2400" actId="21"/>
          <ac:spMkLst>
            <pc:docMk/>
            <pc:sldMk cId="0" sldId="16772060"/>
            <ac:spMk id="154624" creationId="{F313667C-47B4-BD5B-77A6-5859F0FCE9F9}"/>
          </ac:spMkLst>
        </pc:spChg>
        <pc:spChg chg="add del mod">
          <ac:chgData name="Zhu Arena, GFTIOV, BCOM" userId="a49f412c-db83-45d3-9142-dc597ff7d65b" providerId="ADAL" clId="{46FD2C16-79FF-4FFE-BCE3-742826F5B8DC}" dt="2023-06-14T13:25:15.724" v="2400" actId="21"/>
          <ac:spMkLst>
            <pc:docMk/>
            <pc:sldMk cId="0" sldId="16772060"/>
            <ac:spMk id="154625" creationId="{B8F697E3-0E30-F795-D89D-6E3B52FC67D7}"/>
          </ac:spMkLst>
        </pc:spChg>
        <pc:spChg chg="del mod">
          <ac:chgData name="Zhu Arena, GFTIOV, BCOM" userId="a49f412c-db83-45d3-9142-dc597ff7d65b" providerId="ADAL" clId="{46FD2C16-79FF-4FFE-BCE3-742826F5B8DC}" dt="2023-06-14T13:24:49.759" v="2398" actId="478"/>
          <ac:spMkLst>
            <pc:docMk/>
            <pc:sldMk cId="0" sldId="16772060"/>
            <ac:spMk id="154648" creationId="{00000000-0000-0000-0000-000000000000}"/>
          </ac:spMkLst>
        </pc:spChg>
        <pc:spChg chg="del mod">
          <ac:chgData name="Zhu Arena, GFTIOV, BCOM" userId="a49f412c-db83-45d3-9142-dc597ff7d65b" providerId="ADAL" clId="{46FD2C16-79FF-4FFE-BCE3-742826F5B8DC}" dt="2023-06-14T13:13:02.905" v="2238"/>
          <ac:spMkLst>
            <pc:docMk/>
            <pc:sldMk cId="0" sldId="16772060"/>
            <ac:spMk id="158721" creationId="{00000000-0000-0000-0000-000000000000}"/>
          </ac:spMkLst>
        </pc:spChg>
        <pc:spChg chg="del mod">
          <ac:chgData name="Zhu Arena, GFTIOV, BCOM" userId="a49f412c-db83-45d3-9142-dc597ff7d65b" providerId="ADAL" clId="{46FD2C16-79FF-4FFE-BCE3-742826F5B8DC}" dt="2023-06-14T13:13:02.905" v="2238"/>
          <ac:spMkLst>
            <pc:docMk/>
            <pc:sldMk cId="0" sldId="16772060"/>
            <ac:spMk id="158722" creationId="{00000000-0000-0000-0000-000000000000}"/>
          </ac:spMkLst>
        </pc:spChg>
        <pc:spChg chg="mod">
          <ac:chgData name="Zhu Arena, GFTIOV, BCOM" userId="a49f412c-db83-45d3-9142-dc597ff7d65b" providerId="ADAL" clId="{46FD2C16-79FF-4FFE-BCE3-742826F5B8DC}" dt="2023-06-14T13:13:02.748" v="2100" actId="790"/>
          <ac:spMkLst>
            <pc:docMk/>
            <pc:sldMk cId="0" sldId="16772060"/>
            <ac:spMk id="158737" creationId="{00000000-0000-0000-0000-000000000000}"/>
          </ac:spMkLst>
        </pc:spChg>
        <pc:grpChg chg="add del mod">
          <ac:chgData name="Zhu Arena, GFTIOV, BCOM" userId="a49f412c-db83-45d3-9142-dc597ff7d65b" providerId="ADAL" clId="{46FD2C16-79FF-4FFE-BCE3-742826F5B8DC}" dt="2023-06-14T12:33:11.892" v="1629" actId="478"/>
          <ac:grpSpMkLst>
            <pc:docMk/>
            <pc:sldMk cId="0" sldId="16772060"/>
            <ac:grpSpMk id="2" creationId="{4FE80F45-F1BF-FA12-1F4E-4A15BEB1EF9D}"/>
          </ac:grpSpMkLst>
        </pc:grpChg>
        <pc:grpChg chg="del">
          <ac:chgData name="Zhu Arena, GFTIOV, BCOM" userId="a49f412c-db83-45d3-9142-dc597ff7d65b" providerId="ADAL" clId="{46FD2C16-79FF-4FFE-BCE3-742826F5B8DC}" dt="2023-06-14T11:56:45.651" v="1352" actId="478"/>
          <ac:grpSpMkLst>
            <pc:docMk/>
            <pc:sldMk cId="0" sldId="16772060"/>
            <ac:grpSpMk id="158725" creationId="{00000000-0000-0000-0000-000000000000}"/>
          </ac:grpSpMkLst>
        </pc:grpChg>
        <pc:picChg chg="mod">
          <ac:chgData name="Zhu Arena, GFTIOV, BCOM" userId="a49f412c-db83-45d3-9142-dc597ff7d65b" providerId="ADAL" clId="{46FD2C16-79FF-4FFE-BCE3-742826F5B8DC}" dt="2023-06-14T12:32:53.329" v="1628" actId="14100"/>
          <ac:picMkLst>
            <pc:docMk/>
            <pc:sldMk cId="0" sldId="16772060"/>
            <ac:picMk id="3" creationId="{6248128A-DCA1-72B6-8044-C25D5458B45E}"/>
          </ac:picMkLst>
        </pc:picChg>
        <pc:picChg chg="mod">
          <ac:chgData name="Zhu Arena, GFTIOV, BCOM" userId="a49f412c-db83-45d3-9142-dc597ff7d65b" providerId="ADAL" clId="{46FD2C16-79FF-4FFE-BCE3-742826F5B8DC}" dt="2023-06-14T12:32:25.626" v="1621"/>
          <ac:picMkLst>
            <pc:docMk/>
            <pc:sldMk cId="0" sldId="16772060"/>
            <ac:picMk id="4" creationId="{614E2596-DE77-1870-F47F-69284785B12D}"/>
          </ac:picMkLst>
        </pc:picChg>
        <pc:picChg chg="mod">
          <ac:chgData name="Zhu Arena, GFTIOV, BCOM" userId="a49f412c-db83-45d3-9142-dc597ff7d65b" providerId="ADAL" clId="{46FD2C16-79FF-4FFE-BCE3-742826F5B8DC}" dt="2023-06-14T12:32:43.533" v="1626" actId="14100"/>
          <ac:picMkLst>
            <pc:docMk/>
            <pc:sldMk cId="0" sldId="16772060"/>
            <ac:picMk id="5" creationId="{97F80836-AF56-4A6B-9D3E-8A089361F9D7}"/>
          </ac:picMkLst>
        </pc:picChg>
        <pc:picChg chg="mod">
          <ac:chgData name="Zhu Arena, GFTIOV, BCOM" userId="a49f412c-db83-45d3-9142-dc597ff7d65b" providerId="ADAL" clId="{46FD2C16-79FF-4FFE-BCE3-742826F5B8DC}" dt="2023-06-14T12:32:25.626" v="1621"/>
          <ac:picMkLst>
            <pc:docMk/>
            <pc:sldMk cId="0" sldId="16772060"/>
            <ac:picMk id="7" creationId="{59538998-5475-4F12-02F8-739F638599D1}"/>
          </ac:picMkLst>
        </pc:picChg>
        <pc:picChg chg="del">
          <ac:chgData name="Zhu Arena, GFTIOV, BCOM" userId="a49f412c-db83-45d3-9142-dc597ff7d65b" providerId="ADAL" clId="{46FD2C16-79FF-4FFE-BCE3-742826F5B8DC}" dt="2023-06-14T11:56:44.597" v="1351" actId="478"/>
          <ac:picMkLst>
            <pc:docMk/>
            <pc:sldMk cId="0" sldId="16772060"/>
            <ac:picMk id="12" creationId="{00000000-0000-0000-0000-000000000000}"/>
          </ac:picMkLst>
        </pc:picChg>
        <pc:picChg chg="mod">
          <ac:chgData name="Zhu Arena, GFTIOV, BCOM" userId="a49f412c-db83-45d3-9142-dc597ff7d65b" providerId="ADAL" clId="{46FD2C16-79FF-4FFE-BCE3-742826F5B8DC}" dt="2023-06-14T12:32:25.626" v="1621"/>
          <ac:picMkLst>
            <pc:docMk/>
            <pc:sldMk cId="0" sldId="16772060"/>
            <ac:picMk id="13" creationId="{B69B37B5-F426-43CF-E355-160C774902CD}"/>
          </ac:picMkLst>
        </pc:picChg>
        <pc:picChg chg="mod">
          <ac:chgData name="Zhu Arena, GFTIOV, BCOM" userId="a49f412c-db83-45d3-9142-dc597ff7d65b" providerId="ADAL" clId="{46FD2C16-79FF-4FFE-BCE3-742826F5B8DC}" dt="2023-06-14T12:32:25.626" v="1621"/>
          <ac:picMkLst>
            <pc:docMk/>
            <pc:sldMk cId="0" sldId="16772060"/>
            <ac:picMk id="19" creationId="{D4169232-9247-1854-261C-6AE8FF147D17}"/>
          </ac:picMkLst>
        </pc:picChg>
        <pc:picChg chg="mod">
          <ac:chgData name="Zhu Arena, GFTIOV, BCOM" userId="a49f412c-db83-45d3-9142-dc597ff7d65b" providerId="ADAL" clId="{46FD2C16-79FF-4FFE-BCE3-742826F5B8DC}" dt="2023-06-14T12:32:25.626" v="1621"/>
          <ac:picMkLst>
            <pc:docMk/>
            <pc:sldMk cId="0" sldId="16772060"/>
            <ac:picMk id="21" creationId="{A08BE502-BD4C-4C60-9C84-3F0CEE54B459}"/>
          </ac:picMkLst>
        </pc:picChg>
        <pc:picChg chg="mod">
          <ac:chgData name="Zhu Arena, GFTIOV, BCOM" userId="a49f412c-db83-45d3-9142-dc597ff7d65b" providerId="ADAL" clId="{46FD2C16-79FF-4FFE-BCE3-742826F5B8DC}" dt="2023-06-14T12:32:25.626" v="1621"/>
          <ac:picMkLst>
            <pc:docMk/>
            <pc:sldMk cId="0" sldId="16772060"/>
            <ac:picMk id="22" creationId="{46C9F676-600C-A8A3-7844-72115DD22497}"/>
          </ac:picMkLst>
        </pc:picChg>
        <pc:picChg chg="mod">
          <ac:chgData name="Zhu Arena, GFTIOV, BCOM" userId="a49f412c-db83-45d3-9142-dc597ff7d65b" providerId="ADAL" clId="{46FD2C16-79FF-4FFE-BCE3-742826F5B8DC}" dt="2023-06-14T12:32:25.626" v="1621"/>
          <ac:picMkLst>
            <pc:docMk/>
            <pc:sldMk cId="0" sldId="16772060"/>
            <ac:picMk id="23" creationId="{AC6CE4D8-9933-71AA-6CF2-BBCE59ACAF99}"/>
          </ac:picMkLst>
        </pc:picChg>
        <pc:picChg chg="add del mod">
          <ac:chgData name="Zhu Arena, GFTIOV, BCOM" userId="a49f412c-db83-45d3-9142-dc597ff7d65b" providerId="ADAL" clId="{46FD2C16-79FF-4FFE-BCE3-742826F5B8DC}" dt="2023-06-14T13:24:27.810" v="2395" actId="1076"/>
          <ac:picMkLst>
            <pc:docMk/>
            <pc:sldMk cId="0" sldId="16772060"/>
            <ac:picMk id="158731" creationId="{00000000-0000-0000-0000-000000000000}"/>
          </ac:picMkLst>
        </pc:picChg>
      </pc:sldChg>
      <pc:sldChg chg="modSp mod">
        <pc:chgData name="Zhu Arena, GFTIOV, BCOM" userId="a49f412c-db83-45d3-9142-dc597ff7d65b" providerId="ADAL" clId="{46FD2C16-79FF-4FFE-BCE3-742826F5B8DC}" dt="2023-06-15T08:00:17.229" v="4963" actId="790"/>
        <pc:sldMkLst>
          <pc:docMk/>
          <pc:sldMk cId="1708701113" sldId="2146846765"/>
        </pc:sldMkLst>
        <pc:spChg chg="mod">
          <ac:chgData name="Zhu Arena, GFTIOV, BCOM" userId="a49f412c-db83-45d3-9142-dc597ff7d65b" providerId="ADAL" clId="{46FD2C16-79FF-4FFE-BCE3-742826F5B8DC}" dt="2023-06-15T08:00:17.229" v="4963" actId="790"/>
          <ac:spMkLst>
            <pc:docMk/>
            <pc:sldMk cId="1708701113" sldId="2146846765"/>
            <ac:spMk id="3" creationId="{34B50616-1829-26B0-D7F6-6117AF382E83}"/>
          </ac:spMkLst>
        </pc:spChg>
      </pc:sldChg>
      <pc:sldChg chg="modSp add del mod ord">
        <pc:chgData name="Zhu Arena, GFTIOV, BCOM" userId="a49f412c-db83-45d3-9142-dc597ff7d65b" providerId="ADAL" clId="{46FD2C16-79FF-4FFE-BCE3-742826F5B8DC}" dt="2023-06-14T09:24:32.481" v="1296" actId="47"/>
        <pc:sldMkLst>
          <pc:docMk/>
          <pc:sldMk cId="3803010088" sldId="2146847324"/>
        </pc:sldMkLst>
        <pc:spChg chg="mod">
          <ac:chgData name="Zhu Arena, GFTIOV, BCOM" userId="a49f412c-db83-45d3-9142-dc597ff7d65b" providerId="ADAL" clId="{46FD2C16-79FF-4FFE-BCE3-742826F5B8DC}" dt="2023-06-14T09:01:43.538" v="648" actId="20577"/>
          <ac:spMkLst>
            <pc:docMk/>
            <pc:sldMk cId="3803010088" sldId="2146847324"/>
            <ac:spMk id="21" creationId="{00000000-0000-0000-0000-000000000000}"/>
          </ac:spMkLst>
        </pc:spChg>
        <pc:spChg chg="mod">
          <ac:chgData name="Zhu Arena, GFTIOV, BCOM" userId="a49f412c-db83-45d3-9142-dc597ff7d65b" providerId="ADAL" clId="{46FD2C16-79FF-4FFE-BCE3-742826F5B8DC}" dt="2023-06-14T08:58:55.091" v="550" actId="14100"/>
          <ac:spMkLst>
            <pc:docMk/>
            <pc:sldMk cId="3803010088" sldId="2146847324"/>
            <ac:spMk id="27" creationId="{00000000-0000-0000-0000-000000000000}"/>
          </ac:spMkLst>
        </pc:spChg>
      </pc:sldChg>
      <pc:sldChg chg="addSp delSp modSp add del mod modClrScheme chgLayout">
        <pc:chgData name="Zhu Arena, GFTIOV, BCOM" userId="a49f412c-db83-45d3-9142-dc597ff7d65b" providerId="ADAL" clId="{46FD2C16-79FF-4FFE-BCE3-742826F5B8DC}" dt="2023-06-14T08:58:35.995" v="548" actId="47"/>
        <pc:sldMkLst>
          <pc:docMk/>
          <pc:sldMk cId="2069800633" sldId="2146847816"/>
        </pc:sldMkLst>
        <pc:spChg chg="add del mod ord">
          <ac:chgData name="Zhu Arena, GFTIOV, BCOM" userId="a49f412c-db83-45d3-9142-dc597ff7d65b" providerId="ADAL" clId="{46FD2C16-79FF-4FFE-BCE3-742826F5B8DC}" dt="2023-06-14T08:55:29.636" v="452" actId="700"/>
          <ac:spMkLst>
            <pc:docMk/>
            <pc:sldMk cId="2069800633" sldId="2146847816"/>
            <ac:spMk id="2" creationId="{1813E4C2-6AD0-D475-6E06-722A029468B5}"/>
          </ac:spMkLst>
        </pc:spChg>
        <pc:spChg chg="mod ord">
          <ac:chgData name="Zhu Arena, GFTIOV, BCOM" userId="a49f412c-db83-45d3-9142-dc597ff7d65b" providerId="ADAL" clId="{46FD2C16-79FF-4FFE-BCE3-742826F5B8DC}" dt="2023-06-14T08:55:29.636" v="452" actId="700"/>
          <ac:spMkLst>
            <pc:docMk/>
            <pc:sldMk cId="2069800633" sldId="2146847816"/>
            <ac:spMk id="3" creationId="{8D026A10-0F1A-406E-AD93-84D36BE9F7D5}"/>
          </ac:spMkLst>
        </pc:spChg>
        <pc:spChg chg="add del mod ord">
          <ac:chgData name="Zhu Arena, GFTIOV, BCOM" userId="a49f412c-db83-45d3-9142-dc597ff7d65b" providerId="ADAL" clId="{46FD2C16-79FF-4FFE-BCE3-742826F5B8DC}" dt="2023-06-14T08:55:29.636" v="452" actId="700"/>
          <ac:spMkLst>
            <pc:docMk/>
            <pc:sldMk cId="2069800633" sldId="2146847816"/>
            <ac:spMk id="4" creationId="{17DCA27C-2B87-E23B-71CB-D6F13C512BE8}"/>
          </ac:spMkLst>
        </pc:spChg>
        <pc:spChg chg="mod ord">
          <ac:chgData name="Zhu Arena, GFTIOV, BCOM" userId="a49f412c-db83-45d3-9142-dc597ff7d65b" providerId="ADAL" clId="{46FD2C16-79FF-4FFE-BCE3-742826F5B8DC}" dt="2023-06-14T08:55:29.636" v="452" actId="700"/>
          <ac:spMkLst>
            <pc:docMk/>
            <pc:sldMk cId="2069800633" sldId="2146847816"/>
            <ac:spMk id="5" creationId="{7C9A221C-BA19-F597-D461-77AD0BFE79DB}"/>
          </ac:spMkLst>
        </pc:spChg>
        <pc:spChg chg="add del mod ord">
          <ac:chgData name="Zhu Arena, GFTIOV, BCOM" userId="a49f412c-db83-45d3-9142-dc597ff7d65b" providerId="ADAL" clId="{46FD2C16-79FF-4FFE-BCE3-742826F5B8DC}" dt="2023-06-14T08:55:29.636" v="452" actId="700"/>
          <ac:spMkLst>
            <pc:docMk/>
            <pc:sldMk cId="2069800633" sldId="2146847816"/>
            <ac:spMk id="6" creationId="{CB9686AC-1055-BDD5-F633-1CEE20FA95B2}"/>
          </ac:spMkLst>
        </pc:spChg>
        <pc:spChg chg="add del mod ord">
          <ac:chgData name="Zhu Arena, GFTIOV, BCOM" userId="a49f412c-db83-45d3-9142-dc597ff7d65b" providerId="ADAL" clId="{46FD2C16-79FF-4FFE-BCE3-742826F5B8DC}" dt="2023-06-14T08:55:29.636" v="452" actId="700"/>
          <ac:spMkLst>
            <pc:docMk/>
            <pc:sldMk cId="2069800633" sldId="2146847816"/>
            <ac:spMk id="7" creationId="{49BE6F63-7882-E571-7EAB-4D702F2C38EE}"/>
          </ac:spMkLst>
        </pc:spChg>
        <pc:spChg chg="add del mod ord">
          <ac:chgData name="Zhu Arena, GFTIOV, BCOM" userId="a49f412c-db83-45d3-9142-dc597ff7d65b" providerId="ADAL" clId="{46FD2C16-79FF-4FFE-BCE3-742826F5B8DC}" dt="2023-06-14T08:55:29.636" v="452" actId="700"/>
          <ac:spMkLst>
            <pc:docMk/>
            <pc:sldMk cId="2069800633" sldId="2146847816"/>
            <ac:spMk id="8" creationId="{8163FEE6-92F6-25D9-BADF-C2A291B3FBF3}"/>
          </ac:spMkLst>
        </pc:spChg>
        <pc:spChg chg="add del mod ord">
          <ac:chgData name="Zhu Arena, GFTIOV, BCOM" userId="a49f412c-db83-45d3-9142-dc597ff7d65b" providerId="ADAL" clId="{46FD2C16-79FF-4FFE-BCE3-742826F5B8DC}" dt="2023-06-14T08:55:29.636" v="452" actId="700"/>
          <ac:spMkLst>
            <pc:docMk/>
            <pc:sldMk cId="2069800633" sldId="2146847816"/>
            <ac:spMk id="10" creationId="{C9D622D8-849A-B601-8178-D219C15566BE}"/>
          </ac:spMkLst>
        </pc:spChg>
        <pc:spChg chg="mod">
          <ac:chgData name="Zhu Arena, GFTIOV, BCOM" userId="a49f412c-db83-45d3-9142-dc597ff7d65b" providerId="ADAL" clId="{46FD2C16-79FF-4FFE-BCE3-742826F5B8DC}" dt="2023-06-14T08:57:24.825" v="542" actId="1076"/>
          <ac:spMkLst>
            <pc:docMk/>
            <pc:sldMk cId="2069800633" sldId="2146847816"/>
            <ac:spMk id="91" creationId="{357D0865-7ACB-4AAE-7BEF-318285837E6B}"/>
          </ac:spMkLst>
        </pc:spChg>
        <pc:spChg chg="mod">
          <ac:chgData name="Zhu Arena, GFTIOV, BCOM" userId="a49f412c-db83-45d3-9142-dc597ff7d65b" providerId="ADAL" clId="{46FD2C16-79FF-4FFE-BCE3-742826F5B8DC}" dt="2023-06-14T08:57:18.079" v="540" actId="1076"/>
          <ac:spMkLst>
            <pc:docMk/>
            <pc:sldMk cId="2069800633" sldId="2146847816"/>
            <ac:spMk id="94" creationId="{2588F25B-36D4-1C12-C2F8-EE80B9F19F9D}"/>
          </ac:spMkLst>
        </pc:spChg>
        <pc:grpChg chg="add del mod">
          <ac:chgData name="Zhu Arena, GFTIOV, BCOM" userId="a49f412c-db83-45d3-9142-dc597ff7d65b" providerId="ADAL" clId="{46FD2C16-79FF-4FFE-BCE3-742826F5B8DC}" dt="2023-06-14T08:58:25.433" v="546" actId="478"/>
          <ac:grpSpMkLst>
            <pc:docMk/>
            <pc:sldMk cId="2069800633" sldId="2146847816"/>
            <ac:grpSpMk id="20" creationId="{BD8E3462-B270-04E2-EEE7-FA7E75162295}"/>
          </ac:grpSpMkLst>
        </pc:grpChg>
        <pc:graphicFrameChg chg="del">
          <ac:chgData name="Zhu Arena, GFTIOV, BCOM" userId="a49f412c-db83-45d3-9142-dc597ff7d65b" providerId="ADAL" clId="{46FD2C16-79FF-4FFE-BCE3-742826F5B8DC}" dt="2023-06-14T08:54:54.495" v="448" actId="478"/>
          <ac:graphicFrameMkLst>
            <pc:docMk/>
            <pc:sldMk cId="2069800633" sldId="2146847816"/>
            <ac:graphicFrameMk id="88" creationId="{A1C93F52-FADB-7F52-860B-DA0BFF3F7746}"/>
          </ac:graphicFrameMkLst>
        </pc:graphicFrameChg>
        <pc:picChg chg="add mod">
          <ac:chgData name="Zhu Arena, GFTIOV, BCOM" userId="a49f412c-db83-45d3-9142-dc597ff7d65b" providerId="ADAL" clId="{46FD2C16-79FF-4FFE-BCE3-742826F5B8DC}" dt="2023-06-14T08:57:01.343" v="536" actId="164"/>
          <ac:picMkLst>
            <pc:docMk/>
            <pc:sldMk cId="2069800633" sldId="2146847816"/>
            <ac:picMk id="11" creationId="{EE199EC2-48C3-0C0D-2F43-9482BA100198}"/>
          </ac:picMkLst>
        </pc:picChg>
        <pc:picChg chg="add mod">
          <ac:chgData name="Zhu Arena, GFTIOV, BCOM" userId="a49f412c-db83-45d3-9142-dc597ff7d65b" providerId="ADAL" clId="{46FD2C16-79FF-4FFE-BCE3-742826F5B8DC}" dt="2023-06-14T08:57:01.343" v="536" actId="164"/>
          <ac:picMkLst>
            <pc:docMk/>
            <pc:sldMk cId="2069800633" sldId="2146847816"/>
            <ac:picMk id="12" creationId="{A5CE932A-B625-5743-5E96-D1DAB4E637C9}"/>
          </ac:picMkLst>
        </pc:picChg>
        <pc:picChg chg="add mod">
          <ac:chgData name="Zhu Arena, GFTIOV, BCOM" userId="a49f412c-db83-45d3-9142-dc597ff7d65b" providerId="ADAL" clId="{46FD2C16-79FF-4FFE-BCE3-742826F5B8DC}" dt="2023-06-14T08:57:01.343" v="536" actId="164"/>
          <ac:picMkLst>
            <pc:docMk/>
            <pc:sldMk cId="2069800633" sldId="2146847816"/>
            <ac:picMk id="13" creationId="{DB8AF8DE-63DC-36D1-25EA-27F2632098F4}"/>
          </ac:picMkLst>
        </pc:picChg>
        <pc:picChg chg="add mod">
          <ac:chgData name="Zhu Arena, GFTIOV, BCOM" userId="a49f412c-db83-45d3-9142-dc597ff7d65b" providerId="ADAL" clId="{46FD2C16-79FF-4FFE-BCE3-742826F5B8DC}" dt="2023-06-14T08:57:01.343" v="536" actId="164"/>
          <ac:picMkLst>
            <pc:docMk/>
            <pc:sldMk cId="2069800633" sldId="2146847816"/>
            <ac:picMk id="14" creationId="{4B5A99B6-7480-8B63-B294-5648310088D9}"/>
          </ac:picMkLst>
        </pc:picChg>
        <pc:picChg chg="add mod">
          <ac:chgData name="Zhu Arena, GFTIOV, BCOM" userId="a49f412c-db83-45d3-9142-dc597ff7d65b" providerId="ADAL" clId="{46FD2C16-79FF-4FFE-BCE3-742826F5B8DC}" dt="2023-06-14T08:57:01.343" v="536" actId="164"/>
          <ac:picMkLst>
            <pc:docMk/>
            <pc:sldMk cId="2069800633" sldId="2146847816"/>
            <ac:picMk id="15" creationId="{CB5651E3-1049-C58E-4AAF-07D0B416245A}"/>
          </ac:picMkLst>
        </pc:picChg>
        <pc:picChg chg="add mod">
          <ac:chgData name="Zhu Arena, GFTIOV, BCOM" userId="a49f412c-db83-45d3-9142-dc597ff7d65b" providerId="ADAL" clId="{46FD2C16-79FF-4FFE-BCE3-742826F5B8DC}" dt="2023-06-14T08:57:01.343" v="536" actId="164"/>
          <ac:picMkLst>
            <pc:docMk/>
            <pc:sldMk cId="2069800633" sldId="2146847816"/>
            <ac:picMk id="16" creationId="{A64D856D-6734-61FF-A7DE-8500EB71F6A2}"/>
          </ac:picMkLst>
        </pc:picChg>
        <pc:picChg chg="add mod">
          <ac:chgData name="Zhu Arena, GFTIOV, BCOM" userId="a49f412c-db83-45d3-9142-dc597ff7d65b" providerId="ADAL" clId="{46FD2C16-79FF-4FFE-BCE3-742826F5B8DC}" dt="2023-06-14T08:57:01.343" v="536" actId="164"/>
          <ac:picMkLst>
            <pc:docMk/>
            <pc:sldMk cId="2069800633" sldId="2146847816"/>
            <ac:picMk id="17" creationId="{68F35475-AD3E-D99E-96FF-59A3805B2492}"/>
          </ac:picMkLst>
        </pc:picChg>
        <pc:picChg chg="add mod">
          <ac:chgData name="Zhu Arena, GFTIOV, BCOM" userId="a49f412c-db83-45d3-9142-dc597ff7d65b" providerId="ADAL" clId="{46FD2C16-79FF-4FFE-BCE3-742826F5B8DC}" dt="2023-06-14T08:57:01.343" v="536" actId="164"/>
          <ac:picMkLst>
            <pc:docMk/>
            <pc:sldMk cId="2069800633" sldId="2146847816"/>
            <ac:picMk id="18" creationId="{F2454096-6D54-48BC-5F8F-76600D757EBD}"/>
          </ac:picMkLst>
        </pc:picChg>
        <pc:picChg chg="add mod">
          <ac:chgData name="Zhu Arena, GFTIOV, BCOM" userId="a49f412c-db83-45d3-9142-dc597ff7d65b" providerId="ADAL" clId="{46FD2C16-79FF-4FFE-BCE3-742826F5B8DC}" dt="2023-06-14T08:57:01.343" v="536" actId="164"/>
          <ac:picMkLst>
            <pc:docMk/>
            <pc:sldMk cId="2069800633" sldId="2146847816"/>
            <ac:picMk id="19" creationId="{33F3951C-ABDF-0151-EC6E-B70AF40A74D6}"/>
          </ac:picMkLst>
        </pc:picChg>
        <pc:picChg chg="del mod">
          <ac:chgData name="Zhu Arena, GFTIOV, BCOM" userId="a49f412c-db83-45d3-9142-dc597ff7d65b" providerId="ADAL" clId="{46FD2C16-79FF-4FFE-BCE3-742826F5B8DC}" dt="2023-06-14T08:56:54.154" v="534" actId="478"/>
          <ac:picMkLst>
            <pc:docMk/>
            <pc:sldMk cId="2069800633" sldId="2146847816"/>
            <ac:picMk id="89" creationId="{8C412B8A-231C-78D7-8572-76E6A135952E}"/>
          </ac:picMkLst>
        </pc:picChg>
        <pc:picChg chg="del mod">
          <ac:chgData name="Zhu Arena, GFTIOV, BCOM" userId="a49f412c-db83-45d3-9142-dc597ff7d65b" providerId="ADAL" clId="{46FD2C16-79FF-4FFE-BCE3-742826F5B8DC}" dt="2023-06-14T08:56:53.660" v="533" actId="478"/>
          <ac:picMkLst>
            <pc:docMk/>
            <pc:sldMk cId="2069800633" sldId="2146847816"/>
            <ac:picMk id="90" creationId="{16BD4761-ED5A-FF09-651C-1A3E36AC1271}"/>
          </ac:picMkLst>
        </pc:picChg>
        <pc:picChg chg="del mod">
          <ac:chgData name="Zhu Arena, GFTIOV, BCOM" userId="a49f412c-db83-45d3-9142-dc597ff7d65b" providerId="ADAL" clId="{46FD2C16-79FF-4FFE-BCE3-742826F5B8DC}" dt="2023-06-14T08:58:24.291" v="545" actId="478"/>
          <ac:picMkLst>
            <pc:docMk/>
            <pc:sldMk cId="2069800633" sldId="2146847816"/>
            <ac:picMk id="93" creationId="{F9796275-2CCE-8688-F472-CFFB844452AB}"/>
          </ac:picMkLst>
        </pc:picChg>
      </pc:sldChg>
      <pc:sldChg chg="del">
        <pc:chgData name="Zhu Arena, GFTIOV, BCOM" userId="a49f412c-db83-45d3-9142-dc597ff7d65b" providerId="ADAL" clId="{46FD2C16-79FF-4FFE-BCE3-742826F5B8DC}" dt="2023-06-14T08:54:45.814" v="446" actId="2696"/>
        <pc:sldMkLst>
          <pc:docMk/>
          <pc:sldMk cId="3297476074" sldId="2146847816"/>
        </pc:sldMkLst>
      </pc:sldChg>
      <pc:sldChg chg="addSp delSp modSp add del mod ord">
        <pc:chgData name="Zhu Arena, GFTIOV, BCOM" userId="a49f412c-db83-45d3-9142-dc597ff7d65b" providerId="ADAL" clId="{46FD2C16-79FF-4FFE-BCE3-742826F5B8DC}" dt="2023-06-15T01:19:49.579" v="2658" actId="47"/>
        <pc:sldMkLst>
          <pc:docMk/>
          <pc:sldMk cId="954989905" sldId="2146847848"/>
        </pc:sldMkLst>
        <pc:spChg chg="mod">
          <ac:chgData name="Zhu Arena, GFTIOV, BCOM" userId="a49f412c-db83-45d3-9142-dc597ff7d65b" providerId="ADAL" clId="{46FD2C16-79FF-4FFE-BCE3-742826F5B8DC}" dt="2023-06-14T13:13:02.872" v="2201" actId="790"/>
          <ac:spMkLst>
            <pc:docMk/>
            <pc:sldMk cId="954989905" sldId="2146847848"/>
            <ac:spMk id="3" creationId="{8D026A10-0F1A-406E-AD93-84D36BE9F7D5}"/>
          </ac:spMkLst>
        </pc:spChg>
        <pc:spChg chg="mod">
          <ac:chgData name="Zhu Arena, GFTIOV, BCOM" userId="a49f412c-db83-45d3-9142-dc597ff7d65b" providerId="ADAL" clId="{46FD2C16-79FF-4FFE-BCE3-742826F5B8DC}" dt="2023-06-14T13:13:02.872" v="2202" actId="790"/>
          <ac:spMkLst>
            <pc:docMk/>
            <pc:sldMk cId="954989905" sldId="2146847848"/>
            <ac:spMk id="4" creationId="{7D3FEDD4-2928-4D45-9947-FD59851B4883}"/>
          </ac:spMkLst>
        </pc:spChg>
        <pc:spChg chg="del">
          <ac:chgData name="Zhu Arena, GFTIOV, BCOM" userId="a49f412c-db83-45d3-9142-dc597ff7d65b" providerId="ADAL" clId="{46FD2C16-79FF-4FFE-BCE3-742826F5B8DC}" dt="2023-06-14T08:51:19.599" v="358" actId="478"/>
          <ac:spMkLst>
            <pc:docMk/>
            <pc:sldMk cId="954989905" sldId="2146847848"/>
            <ac:spMk id="5" creationId="{0A3FCE88-F675-4C3E-8963-F72A6E5BBD50}"/>
          </ac:spMkLst>
        </pc:spChg>
        <pc:spChg chg="add del mod">
          <ac:chgData name="Zhu Arena, GFTIOV, BCOM" userId="a49f412c-db83-45d3-9142-dc597ff7d65b" providerId="ADAL" clId="{46FD2C16-79FF-4FFE-BCE3-742826F5B8DC}" dt="2023-06-14T13:13:02.897" v="2232" actId="790"/>
          <ac:spMkLst>
            <pc:docMk/>
            <pc:sldMk cId="954989905" sldId="2146847848"/>
            <ac:spMk id="8" creationId="{F497C887-6187-770C-046C-8584B3D928D5}"/>
          </ac:spMkLst>
        </pc:spChg>
        <pc:spChg chg="mod">
          <ac:chgData name="Zhu Arena, GFTIOV, BCOM" userId="a49f412c-db83-45d3-9142-dc597ff7d65b" providerId="ADAL" clId="{46FD2C16-79FF-4FFE-BCE3-742826F5B8DC}" dt="2023-06-14T13:13:02.897" v="2233"/>
          <ac:spMkLst>
            <pc:docMk/>
            <pc:sldMk cId="954989905" sldId="2146847848"/>
            <ac:spMk id="9" creationId="{BA8983DC-DC37-32BB-9BF7-4FF36B6702D3}"/>
          </ac:spMkLst>
        </pc:spChg>
        <pc:spChg chg="mod">
          <ac:chgData name="Zhu Arena, GFTIOV, BCOM" userId="a49f412c-db83-45d3-9142-dc597ff7d65b" providerId="ADAL" clId="{46FD2C16-79FF-4FFE-BCE3-742826F5B8DC}" dt="2023-06-14T13:13:02.872" v="2203" actId="790"/>
          <ac:spMkLst>
            <pc:docMk/>
            <pc:sldMk cId="954989905" sldId="2146847848"/>
            <ac:spMk id="10" creationId="{1955930E-7C07-435B-B8B0-48729F884F89}"/>
          </ac:spMkLst>
        </pc:spChg>
        <pc:spChg chg="add mod">
          <ac:chgData name="Zhu Arena, GFTIOV, BCOM" userId="a49f412c-db83-45d3-9142-dc597ff7d65b" providerId="ADAL" clId="{46FD2C16-79FF-4FFE-BCE3-742826F5B8DC}" dt="2023-06-14T13:13:02.897" v="2234" actId="790"/>
          <ac:spMkLst>
            <pc:docMk/>
            <pc:sldMk cId="954989905" sldId="2146847848"/>
            <ac:spMk id="11" creationId="{5E988CA7-4CDC-FC94-421E-0EE79B8E5F0B}"/>
          </ac:spMkLst>
        </pc:spChg>
        <pc:spChg chg="del">
          <ac:chgData name="Zhu Arena, GFTIOV, BCOM" userId="a49f412c-db83-45d3-9142-dc597ff7d65b" providerId="ADAL" clId="{46FD2C16-79FF-4FFE-BCE3-742826F5B8DC}" dt="2023-06-14T08:51:23.937" v="359" actId="478"/>
          <ac:spMkLst>
            <pc:docMk/>
            <pc:sldMk cId="954989905" sldId="2146847848"/>
            <ac:spMk id="12" creationId="{4FA8D0D2-C1F8-490A-892D-8E0C3082C505}"/>
          </ac:spMkLst>
        </pc:spChg>
        <pc:spChg chg="add del">
          <ac:chgData name="Zhu Arena, GFTIOV, BCOM" userId="a49f412c-db83-45d3-9142-dc597ff7d65b" providerId="ADAL" clId="{46FD2C16-79FF-4FFE-BCE3-742826F5B8DC}" dt="2023-06-14T09:09:35.447" v="799" actId="478"/>
          <ac:spMkLst>
            <pc:docMk/>
            <pc:sldMk cId="954989905" sldId="2146847848"/>
            <ac:spMk id="13" creationId="{B8ABE3F1-99B7-4D7B-B85B-F7A4D191C386}"/>
          </ac:spMkLst>
        </pc:spChg>
        <pc:spChg chg="del">
          <ac:chgData name="Zhu Arena, GFTIOV, BCOM" userId="a49f412c-db83-45d3-9142-dc597ff7d65b" providerId="ADAL" clId="{46FD2C16-79FF-4FFE-BCE3-742826F5B8DC}" dt="2023-06-14T08:51:23.937" v="359" actId="478"/>
          <ac:spMkLst>
            <pc:docMk/>
            <pc:sldMk cId="954989905" sldId="2146847848"/>
            <ac:spMk id="14" creationId="{6ECA6831-F26A-48C5-AA93-96CF367257F9}"/>
          </ac:spMkLst>
        </pc:spChg>
        <pc:spChg chg="del">
          <ac:chgData name="Zhu Arena, GFTIOV, BCOM" userId="a49f412c-db83-45d3-9142-dc597ff7d65b" providerId="ADAL" clId="{46FD2C16-79FF-4FFE-BCE3-742826F5B8DC}" dt="2023-06-14T08:51:23.937" v="359" actId="478"/>
          <ac:spMkLst>
            <pc:docMk/>
            <pc:sldMk cId="954989905" sldId="2146847848"/>
            <ac:spMk id="15" creationId="{4731A21F-1E45-4AD5-BE4F-BDB890176DCA}"/>
          </ac:spMkLst>
        </pc:spChg>
        <pc:spChg chg="del">
          <ac:chgData name="Zhu Arena, GFTIOV, BCOM" userId="a49f412c-db83-45d3-9142-dc597ff7d65b" providerId="ADAL" clId="{46FD2C16-79FF-4FFE-BCE3-742826F5B8DC}" dt="2023-06-14T08:51:23.937" v="359" actId="478"/>
          <ac:spMkLst>
            <pc:docMk/>
            <pc:sldMk cId="954989905" sldId="2146847848"/>
            <ac:spMk id="16" creationId="{FC2386EE-918A-4BEF-AD6D-58F9C66F5FAA}"/>
          </ac:spMkLst>
        </pc:spChg>
        <pc:spChg chg="del">
          <ac:chgData name="Zhu Arena, GFTIOV, BCOM" userId="a49f412c-db83-45d3-9142-dc597ff7d65b" providerId="ADAL" clId="{46FD2C16-79FF-4FFE-BCE3-742826F5B8DC}" dt="2023-06-14T08:51:23.937" v="359" actId="478"/>
          <ac:spMkLst>
            <pc:docMk/>
            <pc:sldMk cId="954989905" sldId="2146847848"/>
            <ac:spMk id="17" creationId="{956FE012-D6EA-4E1E-801C-E8331DE17715}"/>
          </ac:spMkLst>
        </pc:spChg>
        <pc:spChg chg="del">
          <ac:chgData name="Zhu Arena, GFTIOV, BCOM" userId="a49f412c-db83-45d3-9142-dc597ff7d65b" providerId="ADAL" clId="{46FD2C16-79FF-4FFE-BCE3-742826F5B8DC}" dt="2023-06-14T08:51:23.937" v="359" actId="478"/>
          <ac:spMkLst>
            <pc:docMk/>
            <pc:sldMk cId="954989905" sldId="2146847848"/>
            <ac:spMk id="19" creationId="{2B9AFE5B-D666-4A5A-8FFF-46DD952C240A}"/>
          </ac:spMkLst>
        </pc:spChg>
        <pc:spChg chg="del">
          <ac:chgData name="Zhu Arena, GFTIOV, BCOM" userId="a49f412c-db83-45d3-9142-dc597ff7d65b" providerId="ADAL" clId="{46FD2C16-79FF-4FFE-BCE3-742826F5B8DC}" dt="2023-06-14T08:51:23.937" v="359" actId="478"/>
          <ac:spMkLst>
            <pc:docMk/>
            <pc:sldMk cId="954989905" sldId="2146847848"/>
            <ac:spMk id="22" creationId="{4C5961ED-3400-4FC9-A91A-F7A58735A5FE}"/>
          </ac:spMkLst>
        </pc:spChg>
        <pc:spChg chg="del">
          <ac:chgData name="Zhu Arena, GFTIOV, BCOM" userId="a49f412c-db83-45d3-9142-dc597ff7d65b" providerId="ADAL" clId="{46FD2C16-79FF-4FFE-BCE3-742826F5B8DC}" dt="2023-06-14T08:51:23.937" v="359" actId="478"/>
          <ac:spMkLst>
            <pc:docMk/>
            <pc:sldMk cId="954989905" sldId="2146847848"/>
            <ac:spMk id="25" creationId="{E0DABB92-3C6C-4FE3-ABCF-CD648602DB92}"/>
          </ac:spMkLst>
        </pc:spChg>
        <pc:spChg chg="del">
          <ac:chgData name="Zhu Arena, GFTIOV, BCOM" userId="a49f412c-db83-45d3-9142-dc597ff7d65b" providerId="ADAL" clId="{46FD2C16-79FF-4FFE-BCE3-742826F5B8DC}" dt="2023-06-14T08:51:23.937" v="359" actId="478"/>
          <ac:spMkLst>
            <pc:docMk/>
            <pc:sldMk cId="954989905" sldId="2146847848"/>
            <ac:spMk id="28" creationId="{79613ACD-08BC-42E2-9F9E-A1F52A26F477}"/>
          </ac:spMkLst>
        </pc:spChg>
        <pc:spChg chg="del">
          <ac:chgData name="Zhu Arena, GFTIOV, BCOM" userId="a49f412c-db83-45d3-9142-dc597ff7d65b" providerId="ADAL" clId="{46FD2C16-79FF-4FFE-BCE3-742826F5B8DC}" dt="2023-06-14T08:51:23.937" v="359" actId="478"/>
          <ac:spMkLst>
            <pc:docMk/>
            <pc:sldMk cId="954989905" sldId="2146847848"/>
            <ac:spMk id="31" creationId="{4CAD70CE-149C-42FF-9BA9-2D4641C24BFA}"/>
          </ac:spMkLst>
        </pc:spChg>
        <pc:spChg chg="del">
          <ac:chgData name="Zhu Arena, GFTIOV, BCOM" userId="a49f412c-db83-45d3-9142-dc597ff7d65b" providerId="ADAL" clId="{46FD2C16-79FF-4FFE-BCE3-742826F5B8DC}" dt="2023-06-14T08:51:23.937" v="359" actId="478"/>
          <ac:spMkLst>
            <pc:docMk/>
            <pc:sldMk cId="954989905" sldId="2146847848"/>
            <ac:spMk id="34" creationId="{A91BBDCA-3588-45DD-8E76-2469B713B30F}"/>
          </ac:spMkLst>
        </pc:spChg>
        <pc:spChg chg="del mod">
          <ac:chgData name="Zhu Arena, GFTIOV, BCOM" userId="a49f412c-db83-45d3-9142-dc597ff7d65b" providerId="ADAL" clId="{46FD2C16-79FF-4FFE-BCE3-742826F5B8DC}" dt="2023-06-14T12:59:00.303" v="1935" actId="21"/>
          <ac:spMkLst>
            <pc:docMk/>
            <pc:sldMk cId="954989905" sldId="2146847848"/>
            <ac:spMk id="44" creationId="{C5E89091-60CF-DBD5-BAC2-BDAF510287BD}"/>
          </ac:spMkLst>
        </pc:spChg>
        <pc:spChg chg="del">
          <ac:chgData name="Zhu Arena, GFTIOV, BCOM" userId="a49f412c-db83-45d3-9142-dc597ff7d65b" providerId="ADAL" clId="{46FD2C16-79FF-4FFE-BCE3-742826F5B8DC}" dt="2023-06-14T08:51:26.339" v="360" actId="478"/>
          <ac:spMkLst>
            <pc:docMk/>
            <pc:sldMk cId="954989905" sldId="2146847848"/>
            <ac:spMk id="58" creationId="{DAA8DBB8-9BD6-4F78-81CC-ABF280392DEA}"/>
          </ac:spMkLst>
        </pc:spChg>
        <pc:spChg chg="del">
          <ac:chgData name="Zhu Arena, GFTIOV, BCOM" userId="a49f412c-db83-45d3-9142-dc597ff7d65b" providerId="ADAL" clId="{46FD2C16-79FF-4FFE-BCE3-742826F5B8DC}" dt="2023-06-14T08:51:23.937" v="359" actId="478"/>
          <ac:spMkLst>
            <pc:docMk/>
            <pc:sldMk cId="954989905" sldId="2146847848"/>
            <ac:spMk id="60" creationId="{A9A0FCCC-45E0-4996-8B55-C8A0841D6067}"/>
          </ac:spMkLst>
        </pc:spChg>
        <pc:spChg chg="del">
          <ac:chgData name="Zhu Arena, GFTIOV, BCOM" userId="a49f412c-db83-45d3-9142-dc597ff7d65b" providerId="ADAL" clId="{46FD2C16-79FF-4FFE-BCE3-742826F5B8DC}" dt="2023-06-14T08:51:23.937" v="359" actId="478"/>
          <ac:spMkLst>
            <pc:docMk/>
            <pc:sldMk cId="954989905" sldId="2146847848"/>
            <ac:spMk id="62" creationId="{67341109-5DC1-4CAF-85EC-FB9CB8936A99}"/>
          </ac:spMkLst>
        </pc:spChg>
        <pc:spChg chg="del">
          <ac:chgData name="Zhu Arena, GFTIOV, BCOM" userId="a49f412c-db83-45d3-9142-dc597ff7d65b" providerId="ADAL" clId="{46FD2C16-79FF-4FFE-BCE3-742826F5B8DC}" dt="2023-06-14T08:51:23.937" v="359" actId="478"/>
          <ac:spMkLst>
            <pc:docMk/>
            <pc:sldMk cId="954989905" sldId="2146847848"/>
            <ac:spMk id="64" creationId="{626AC90B-133A-45D8-92CE-685B45448F89}"/>
          </ac:spMkLst>
        </pc:spChg>
        <pc:spChg chg="del">
          <ac:chgData name="Zhu Arena, GFTIOV, BCOM" userId="a49f412c-db83-45d3-9142-dc597ff7d65b" providerId="ADAL" clId="{46FD2C16-79FF-4FFE-BCE3-742826F5B8DC}" dt="2023-06-14T08:51:23.937" v="359" actId="478"/>
          <ac:spMkLst>
            <pc:docMk/>
            <pc:sldMk cId="954989905" sldId="2146847848"/>
            <ac:spMk id="66" creationId="{BC6B6CAF-8CAB-47DB-BD54-80F20BDEF796}"/>
          </ac:spMkLst>
        </pc:spChg>
        <pc:spChg chg="del">
          <ac:chgData name="Zhu Arena, GFTIOV, BCOM" userId="a49f412c-db83-45d3-9142-dc597ff7d65b" providerId="ADAL" clId="{46FD2C16-79FF-4FFE-BCE3-742826F5B8DC}" dt="2023-06-14T08:51:23.937" v="359" actId="478"/>
          <ac:spMkLst>
            <pc:docMk/>
            <pc:sldMk cId="954989905" sldId="2146847848"/>
            <ac:spMk id="68" creationId="{281B50C0-EF83-40DD-B321-131E1394DE69}"/>
          </ac:spMkLst>
        </pc:spChg>
        <pc:graphicFrameChg chg="add del modGraphic">
          <ac:chgData name="Zhu Arena, GFTIOV, BCOM" userId="a49f412c-db83-45d3-9142-dc597ff7d65b" providerId="ADAL" clId="{46FD2C16-79FF-4FFE-BCE3-742826F5B8DC}" dt="2023-06-14T13:13:02.897" v="2231" actId="790"/>
          <ac:graphicFrameMkLst>
            <pc:docMk/>
            <pc:sldMk cId="954989905" sldId="2146847848"/>
            <ac:graphicFrameMk id="2" creationId="{2ADA33E0-1AE7-4303-E3F0-7F71DBF71642}"/>
          </ac:graphicFrameMkLst>
        </pc:graphicFrameChg>
        <pc:picChg chg="del">
          <ac:chgData name="Zhu Arena, GFTIOV, BCOM" userId="a49f412c-db83-45d3-9142-dc597ff7d65b" providerId="ADAL" clId="{46FD2C16-79FF-4FFE-BCE3-742826F5B8DC}" dt="2023-06-14T08:51:23.937" v="359" actId="478"/>
          <ac:picMkLst>
            <pc:docMk/>
            <pc:sldMk cId="954989905" sldId="2146847848"/>
            <ac:picMk id="7" creationId="{30139DF7-50C3-43F4-ABAB-19FD59BCEDF9}"/>
          </ac:picMkLst>
        </pc:picChg>
        <pc:picChg chg="del">
          <ac:chgData name="Zhu Arena, GFTIOV, BCOM" userId="a49f412c-db83-45d3-9142-dc597ff7d65b" providerId="ADAL" clId="{46FD2C16-79FF-4FFE-BCE3-742826F5B8DC}" dt="2023-06-14T08:51:23.937" v="359" actId="478"/>
          <ac:picMkLst>
            <pc:docMk/>
            <pc:sldMk cId="954989905" sldId="2146847848"/>
            <ac:picMk id="49" creationId="{8FE19D40-17F2-4B15-B663-4B50E1856D63}"/>
          </ac:picMkLst>
        </pc:picChg>
        <pc:picChg chg="del">
          <ac:chgData name="Zhu Arena, GFTIOV, BCOM" userId="a49f412c-db83-45d3-9142-dc597ff7d65b" providerId="ADAL" clId="{46FD2C16-79FF-4FFE-BCE3-742826F5B8DC}" dt="2023-06-14T08:51:23.937" v="359" actId="478"/>
          <ac:picMkLst>
            <pc:docMk/>
            <pc:sldMk cId="954989905" sldId="2146847848"/>
            <ac:picMk id="51" creationId="{C6A01DCF-5ADF-4494-A80F-74DDD18F783C}"/>
          </ac:picMkLst>
        </pc:picChg>
        <pc:picChg chg="del">
          <ac:chgData name="Zhu Arena, GFTIOV, BCOM" userId="a49f412c-db83-45d3-9142-dc597ff7d65b" providerId="ADAL" clId="{46FD2C16-79FF-4FFE-BCE3-742826F5B8DC}" dt="2023-06-14T08:51:23.937" v="359" actId="478"/>
          <ac:picMkLst>
            <pc:docMk/>
            <pc:sldMk cId="954989905" sldId="2146847848"/>
            <ac:picMk id="52" creationId="{DA034A73-A065-45A5-A496-7E2F4E36FEEA}"/>
          </ac:picMkLst>
        </pc:picChg>
        <pc:picChg chg="del">
          <ac:chgData name="Zhu Arena, GFTIOV, BCOM" userId="a49f412c-db83-45d3-9142-dc597ff7d65b" providerId="ADAL" clId="{46FD2C16-79FF-4FFE-BCE3-742826F5B8DC}" dt="2023-06-14T08:51:23.937" v="359" actId="478"/>
          <ac:picMkLst>
            <pc:docMk/>
            <pc:sldMk cId="954989905" sldId="2146847848"/>
            <ac:picMk id="54" creationId="{E1DEA90B-7E4B-4E34-B32C-8C9F9B12DDF9}"/>
          </ac:picMkLst>
        </pc:picChg>
        <pc:picChg chg="del">
          <ac:chgData name="Zhu Arena, GFTIOV, BCOM" userId="a49f412c-db83-45d3-9142-dc597ff7d65b" providerId="ADAL" clId="{46FD2C16-79FF-4FFE-BCE3-742826F5B8DC}" dt="2023-06-14T08:51:23.937" v="359" actId="478"/>
          <ac:picMkLst>
            <pc:docMk/>
            <pc:sldMk cId="954989905" sldId="2146847848"/>
            <ac:picMk id="52224" creationId="{4778CA23-F5F1-432B-ADC8-7B6450A93F5D}"/>
          </ac:picMkLst>
        </pc:picChg>
        <pc:picChg chg="del">
          <ac:chgData name="Zhu Arena, GFTIOV, BCOM" userId="a49f412c-db83-45d3-9142-dc597ff7d65b" providerId="ADAL" clId="{46FD2C16-79FF-4FFE-BCE3-742826F5B8DC}" dt="2023-06-14T12:58:19.856" v="1926" actId="21"/>
          <ac:picMkLst>
            <pc:docMk/>
            <pc:sldMk cId="954989905" sldId="2146847848"/>
            <ac:picMk id="53252" creationId="{C56C9894-3EB6-4F21-AFA3-283FDFF4827E}"/>
          </ac:picMkLst>
        </pc:picChg>
      </pc:sldChg>
      <pc:sldChg chg="del">
        <pc:chgData name="Zhu Arena, GFTIOV, BCOM" userId="a49f412c-db83-45d3-9142-dc597ff7d65b" providerId="ADAL" clId="{46FD2C16-79FF-4FFE-BCE3-742826F5B8DC}" dt="2023-06-14T08:11:48.873" v="0" actId="47"/>
        <pc:sldMkLst>
          <pc:docMk/>
          <pc:sldMk cId="1925934639" sldId="2146847849"/>
        </pc:sldMkLst>
      </pc:sldChg>
      <pc:sldChg chg="modSp add del mod">
        <pc:chgData name="Zhu Arena, GFTIOV, BCOM" userId="a49f412c-db83-45d3-9142-dc597ff7d65b" providerId="ADAL" clId="{46FD2C16-79FF-4FFE-BCE3-742826F5B8DC}" dt="2023-06-14T12:11:17.023" v="1465" actId="47"/>
        <pc:sldMkLst>
          <pc:docMk/>
          <pc:sldMk cId="1519341750" sldId="2146847851"/>
        </pc:sldMkLst>
        <pc:spChg chg="mod">
          <ac:chgData name="Zhu Arena, GFTIOV, BCOM" userId="a49f412c-db83-45d3-9142-dc597ff7d65b" providerId="ADAL" clId="{46FD2C16-79FF-4FFE-BCE3-742826F5B8DC}" dt="2023-06-14T12:11:10.570" v="1463" actId="21"/>
          <ac:spMkLst>
            <pc:docMk/>
            <pc:sldMk cId="1519341750" sldId="2146847851"/>
            <ac:spMk id="60" creationId="{B99F1076-67C5-7F83-D0F0-82DC1A5A97DC}"/>
          </ac:spMkLst>
        </pc:spChg>
      </pc:sldChg>
      <pc:sldChg chg="del">
        <pc:chgData name="Zhu Arena, GFTIOV, BCOM" userId="a49f412c-db83-45d3-9142-dc597ff7d65b" providerId="ADAL" clId="{46FD2C16-79FF-4FFE-BCE3-742826F5B8DC}" dt="2023-06-14T13:00:02.424" v="1948" actId="47"/>
        <pc:sldMkLst>
          <pc:docMk/>
          <pc:sldMk cId="1490636253" sldId="2146847854"/>
        </pc:sldMkLst>
      </pc:sldChg>
      <pc:sldChg chg="addSp modSp mod">
        <pc:chgData name="Zhu Arena, GFTIOV, BCOM" userId="a49f412c-db83-45d3-9142-dc597ff7d65b" providerId="ADAL" clId="{46FD2C16-79FF-4FFE-BCE3-742826F5B8DC}" dt="2023-06-16T03:33:01.209" v="6861" actId="403"/>
        <pc:sldMkLst>
          <pc:docMk/>
          <pc:sldMk cId="1195639279" sldId="2146847876"/>
        </pc:sldMkLst>
        <pc:spChg chg="mod">
          <ac:chgData name="Zhu Arena, GFTIOV, BCOM" userId="a49f412c-db83-45d3-9142-dc597ff7d65b" providerId="ADAL" clId="{46FD2C16-79FF-4FFE-BCE3-742826F5B8DC}" dt="2023-06-16T03:33:01.209" v="6861" actId="403"/>
          <ac:spMkLst>
            <pc:docMk/>
            <pc:sldMk cId="1195639279" sldId="2146847876"/>
            <ac:spMk id="2" creationId="{2184894C-D1CC-6AA5-D430-61BB70D8E1A8}"/>
          </ac:spMkLst>
        </pc:spChg>
        <pc:spChg chg="mod">
          <ac:chgData name="Zhu Arena, GFTIOV, BCOM" userId="a49f412c-db83-45d3-9142-dc597ff7d65b" providerId="ADAL" clId="{46FD2C16-79FF-4FFE-BCE3-742826F5B8DC}" dt="2023-06-15T08:00:17.205" v="4926" actId="790"/>
          <ac:spMkLst>
            <pc:docMk/>
            <pc:sldMk cId="1195639279" sldId="2146847876"/>
            <ac:spMk id="3" creationId="{06C30F8A-53B4-A928-75D6-A4A205220FA6}"/>
          </ac:spMkLst>
        </pc:spChg>
        <pc:spChg chg="mod">
          <ac:chgData name="Zhu Arena, GFTIOV, BCOM" userId="a49f412c-db83-45d3-9142-dc597ff7d65b" providerId="ADAL" clId="{46FD2C16-79FF-4FFE-BCE3-742826F5B8DC}" dt="2023-06-15T08:00:17.205" v="4927" actId="790"/>
          <ac:spMkLst>
            <pc:docMk/>
            <pc:sldMk cId="1195639279" sldId="2146847876"/>
            <ac:spMk id="18" creationId="{3B18A2D1-5401-C52D-3B19-E40FA8C4A543}"/>
          </ac:spMkLst>
        </pc:spChg>
        <pc:spChg chg="mod">
          <ac:chgData name="Zhu Arena, GFTIOV, BCOM" userId="a49f412c-db83-45d3-9142-dc597ff7d65b" providerId="ADAL" clId="{46FD2C16-79FF-4FFE-BCE3-742826F5B8DC}" dt="2023-06-15T08:00:17.205" v="4928" actId="790"/>
          <ac:spMkLst>
            <pc:docMk/>
            <pc:sldMk cId="1195639279" sldId="2146847876"/>
            <ac:spMk id="19" creationId="{9D737E99-3E6E-229B-E822-48C681AE7992}"/>
          </ac:spMkLst>
        </pc:spChg>
        <pc:spChg chg="mod">
          <ac:chgData name="Zhu Arena, GFTIOV, BCOM" userId="a49f412c-db83-45d3-9142-dc597ff7d65b" providerId="ADAL" clId="{46FD2C16-79FF-4FFE-BCE3-742826F5B8DC}" dt="2023-06-15T08:00:17.205" v="4929" actId="790"/>
          <ac:spMkLst>
            <pc:docMk/>
            <pc:sldMk cId="1195639279" sldId="2146847876"/>
            <ac:spMk id="20" creationId="{0324D274-634C-59A3-A2B8-5A0F8F55ACEF}"/>
          </ac:spMkLst>
        </pc:spChg>
        <pc:spChg chg="mod">
          <ac:chgData name="Zhu Arena, GFTIOV, BCOM" userId="a49f412c-db83-45d3-9142-dc597ff7d65b" providerId="ADAL" clId="{46FD2C16-79FF-4FFE-BCE3-742826F5B8DC}" dt="2023-06-15T08:00:17.213" v="4930" actId="790"/>
          <ac:spMkLst>
            <pc:docMk/>
            <pc:sldMk cId="1195639279" sldId="2146847876"/>
            <ac:spMk id="21" creationId="{F5A5BFC8-021F-B189-4FFC-9BC26BAC7322}"/>
          </ac:spMkLst>
        </pc:spChg>
        <pc:spChg chg="mod">
          <ac:chgData name="Zhu Arena, GFTIOV, BCOM" userId="a49f412c-db83-45d3-9142-dc597ff7d65b" providerId="ADAL" clId="{46FD2C16-79FF-4FFE-BCE3-742826F5B8DC}" dt="2023-06-15T08:00:17.213" v="4931" actId="790"/>
          <ac:spMkLst>
            <pc:docMk/>
            <pc:sldMk cId="1195639279" sldId="2146847876"/>
            <ac:spMk id="22" creationId="{CABD6111-9BC5-530E-D59A-2B50932793CE}"/>
          </ac:spMkLst>
        </pc:spChg>
        <pc:spChg chg="mod">
          <ac:chgData name="Zhu Arena, GFTIOV, BCOM" userId="a49f412c-db83-45d3-9142-dc597ff7d65b" providerId="ADAL" clId="{46FD2C16-79FF-4FFE-BCE3-742826F5B8DC}" dt="2023-06-15T08:00:17.213" v="4932" actId="790"/>
          <ac:spMkLst>
            <pc:docMk/>
            <pc:sldMk cId="1195639279" sldId="2146847876"/>
            <ac:spMk id="23" creationId="{88E4816B-E5A2-970F-CFFE-E0AC241BE53D}"/>
          </ac:spMkLst>
        </pc:spChg>
        <pc:spChg chg="mod">
          <ac:chgData name="Zhu Arena, GFTIOV, BCOM" userId="a49f412c-db83-45d3-9142-dc597ff7d65b" providerId="ADAL" clId="{46FD2C16-79FF-4FFE-BCE3-742826F5B8DC}" dt="2023-06-15T08:00:17.213" v="4933" actId="790"/>
          <ac:spMkLst>
            <pc:docMk/>
            <pc:sldMk cId="1195639279" sldId="2146847876"/>
            <ac:spMk id="24" creationId="{B37C8DA4-47C7-0F25-B33D-697B1ACE1F22}"/>
          </ac:spMkLst>
        </pc:spChg>
        <pc:spChg chg="mod">
          <ac:chgData name="Zhu Arena, GFTIOV, BCOM" userId="a49f412c-db83-45d3-9142-dc597ff7d65b" providerId="ADAL" clId="{46FD2C16-79FF-4FFE-BCE3-742826F5B8DC}" dt="2023-06-15T08:00:17.213" v="4934" actId="790"/>
          <ac:spMkLst>
            <pc:docMk/>
            <pc:sldMk cId="1195639279" sldId="2146847876"/>
            <ac:spMk id="25" creationId="{4EBA7A1D-3A54-97C5-E73F-0938A6AA8348}"/>
          </ac:spMkLst>
        </pc:spChg>
        <pc:spChg chg="mod">
          <ac:chgData name="Zhu Arena, GFTIOV, BCOM" userId="a49f412c-db83-45d3-9142-dc597ff7d65b" providerId="ADAL" clId="{46FD2C16-79FF-4FFE-BCE3-742826F5B8DC}" dt="2023-06-15T08:00:17.213" v="4935" actId="790"/>
          <ac:spMkLst>
            <pc:docMk/>
            <pc:sldMk cId="1195639279" sldId="2146847876"/>
            <ac:spMk id="26" creationId="{04C79631-1A29-0C75-CE2B-60C7C2149B74}"/>
          </ac:spMkLst>
        </pc:spChg>
        <pc:spChg chg="mod">
          <ac:chgData name="Zhu Arena, GFTIOV, BCOM" userId="a49f412c-db83-45d3-9142-dc597ff7d65b" providerId="ADAL" clId="{46FD2C16-79FF-4FFE-BCE3-742826F5B8DC}" dt="2023-06-15T08:00:17.213" v="4936" actId="790"/>
          <ac:spMkLst>
            <pc:docMk/>
            <pc:sldMk cId="1195639279" sldId="2146847876"/>
            <ac:spMk id="27" creationId="{5987AEA5-A606-9551-DA3C-57702C4E9AC7}"/>
          </ac:spMkLst>
        </pc:spChg>
        <pc:spChg chg="mod">
          <ac:chgData name="Zhu Arena, GFTIOV, BCOM" userId="a49f412c-db83-45d3-9142-dc597ff7d65b" providerId="ADAL" clId="{46FD2C16-79FF-4FFE-BCE3-742826F5B8DC}" dt="2023-06-15T08:00:17.213" v="4937" actId="790"/>
          <ac:spMkLst>
            <pc:docMk/>
            <pc:sldMk cId="1195639279" sldId="2146847876"/>
            <ac:spMk id="28" creationId="{DEE37809-3FCC-AE59-0F44-38C660A45C97}"/>
          </ac:spMkLst>
        </pc:spChg>
        <pc:spChg chg="mod">
          <ac:chgData name="Zhu Arena, GFTIOV, BCOM" userId="a49f412c-db83-45d3-9142-dc597ff7d65b" providerId="ADAL" clId="{46FD2C16-79FF-4FFE-BCE3-742826F5B8DC}" dt="2023-06-15T08:00:17.213" v="4938" actId="790"/>
          <ac:spMkLst>
            <pc:docMk/>
            <pc:sldMk cId="1195639279" sldId="2146847876"/>
            <ac:spMk id="29" creationId="{9D5C6190-7577-1F6A-9020-B27E2E39A6DA}"/>
          </ac:spMkLst>
        </pc:spChg>
        <pc:spChg chg="mod">
          <ac:chgData name="Zhu Arena, GFTIOV, BCOM" userId="a49f412c-db83-45d3-9142-dc597ff7d65b" providerId="ADAL" clId="{46FD2C16-79FF-4FFE-BCE3-742826F5B8DC}" dt="2023-06-15T08:00:17.213" v="4939" actId="790"/>
          <ac:spMkLst>
            <pc:docMk/>
            <pc:sldMk cId="1195639279" sldId="2146847876"/>
            <ac:spMk id="30" creationId="{5987AEA5-A606-9551-DA3C-57702C4E9AC7}"/>
          </ac:spMkLst>
        </pc:spChg>
        <pc:picChg chg="add mod">
          <ac:chgData name="Zhu Arena, GFTIOV, BCOM" userId="a49f412c-db83-45d3-9142-dc597ff7d65b" providerId="ADAL" clId="{46FD2C16-79FF-4FFE-BCE3-742826F5B8DC}" dt="2023-06-14T12:55:59.339" v="1867" actId="571"/>
          <ac:picMkLst>
            <pc:docMk/>
            <pc:sldMk cId="1195639279" sldId="2146847876"/>
            <ac:picMk id="4" creationId="{D8DAC935-1FB3-91F9-2304-D9D284971E09}"/>
          </ac:picMkLst>
        </pc:picChg>
        <pc:picChg chg="mod">
          <ac:chgData name="Zhu Arena, GFTIOV, BCOM" userId="a49f412c-db83-45d3-9142-dc597ff7d65b" providerId="ADAL" clId="{46FD2C16-79FF-4FFE-BCE3-742826F5B8DC}" dt="2023-06-14T12:56:05.695" v="1882" actId="1035"/>
          <ac:picMkLst>
            <pc:docMk/>
            <pc:sldMk cId="1195639279" sldId="2146847876"/>
            <ac:picMk id="5" creationId="{88E92807-7FD3-9582-571D-C0906450D7B7}"/>
          </ac:picMkLst>
        </pc:picChg>
        <pc:picChg chg="mod">
          <ac:chgData name="Zhu Arena, GFTIOV, BCOM" userId="a49f412c-db83-45d3-9142-dc597ff7d65b" providerId="ADAL" clId="{46FD2C16-79FF-4FFE-BCE3-742826F5B8DC}" dt="2023-06-14T12:56:05.695" v="1882" actId="1035"/>
          <ac:picMkLst>
            <pc:docMk/>
            <pc:sldMk cId="1195639279" sldId="2146847876"/>
            <ac:picMk id="6" creationId="{5711F3E4-56EE-B3D9-D951-988648919AC8}"/>
          </ac:picMkLst>
        </pc:picChg>
        <pc:picChg chg="mod">
          <ac:chgData name="Zhu Arena, GFTIOV, BCOM" userId="a49f412c-db83-45d3-9142-dc597ff7d65b" providerId="ADAL" clId="{46FD2C16-79FF-4FFE-BCE3-742826F5B8DC}" dt="2023-06-14T12:55:53.047" v="1865" actId="1035"/>
          <ac:picMkLst>
            <pc:docMk/>
            <pc:sldMk cId="1195639279" sldId="2146847876"/>
            <ac:picMk id="7" creationId="{FF4546F4-7276-81C7-6D26-68A06A9DECF4}"/>
          </ac:picMkLst>
        </pc:picChg>
        <pc:picChg chg="add mod">
          <ac:chgData name="Zhu Arena, GFTIOV, BCOM" userId="a49f412c-db83-45d3-9142-dc597ff7d65b" providerId="ADAL" clId="{46FD2C16-79FF-4FFE-BCE3-742826F5B8DC}" dt="2023-06-14T12:55:59.339" v="1867" actId="571"/>
          <ac:picMkLst>
            <pc:docMk/>
            <pc:sldMk cId="1195639279" sldId="2146847876"/>
            <ac:picMk id="8" creationId="{409768A8-5B06-B346-A37F-75026C91BA03}"/>
          </ac:picMkLst>
        </pc:picChg>
        <pc:picChg chg="mod">
          <ac:chgData name="Zhu Arena, GFTIOV, BCOM" userId="a49f412c-db83-45d3-9142-dc597ff7d65b" providerId="ADAL" clId="{46FD2C16-79FF-4FFE-BCE3-742826F5B8DC}" dt="2023-06-14T12:55:53.047" v="1865" actId="1035"/>
          <ac:picMkLst>
            <pc:docMk/>
            <pc:sldMk cId="1195639279" sldId="2146847876"/>
            <ac:picMk id="9" creationId="{8C8FBDAE-B46B-08C9-736F-0D701B887E06}"/>
          </ac:picMkLst>
        </pc:picChg>
        <pc:picChg chg="add mod">
          <ac:chgData name="Zhu Arena, GFTIOV, BCOM" userId="a49f412c-db83-45d3-9142-dc597ff7d65b" providerId="ADAL" clId="{46FD2C16-79FF-4FFE-BCE3-742826F5B8DC}" dt="2023-06-14T12:55:59.339" v="1867" actId="571"/>
          <ac:picMkLst>
            <pc:docMk/>
            <pc:sldMk cId="1195639279" sldId="2146847876"/>
            <ac:picMk id="10" creationId="{799F54F3-C0A0-1E56-D08E-BAAE16221CA5}"/>
          </ac:picMkLst>
        </pc:picChg>
        <pc:picChg chg="mod">
          <ac:chgData name="Zhu Arena, GFTIOV, BCOM" userId="a49f412c-db83-45d3-9142-dc597ff7d65b" providerId="ADAL" clId="{46FD2C16-79FF-4FFE-BCE3-742826F5B8DC}" dt="2023-06-14T12:56:05.695" v="1882" actId="1035"/>
          <ac:picMkLst>
            <pc:docMk/>
            <pc:sldMk cId="1195639279" sldId="2146847876"/>
            <ac:picMk id="11" creationId="{734709A5-079D-4C38-6F10-82CC20002323}"/>
          </ac:picMkLst>
        </pc:picChg>
        <pc:picChg chg="mod">
          <ac:chgData name="Zhu Arena, GFTIOV, BCOM" userId="a49f412c-db83-45d3-9142-dc597ff7d65b" providerId="ADAL" clId="{46FD2C16-79FF-4FFE-BCE3-742826F5B8DC}" dt="2023-06-14T12:55:53.047" v="1865" actId="1035"/>
          <ac:picMkLst>
            <pc:docMk/>
            <pc:sldMk cId="1195639279" sldId="2146847876"/>
            <ac:picMk id="12" creationId="{C58425AC-8281-AC0B-A8ED-DDC113349E2D}"/>
          </ac:picMkLst>
        </pc:picChg>
        <pc:picChg chg="mod">
          <ac:chgData name="Zhu Arena, GFTIOV, BCOM" userId="a49f412c-db83-45d3-9142-dc597ff7d65b" providerId="ADAL" clId="{46FD2C16-79FF-4FFE-BCE3-742826F5B8DC}" dt="2023-06-14T12:56:05.695" v="1882" actId="1035"/>
          <ac:picMkLst>
            <pc:docMk/>
            <pc:sldMk cId="1195639279" sldId="2146847876"/>
            <ac:picMk id="14" creationId="{5511AB22-AC97-086D-DEB6-4CA16D5A3A9A}"/>
          </ac:picMkLst>
        </pc:picChg>
        <pc:picChg chg="mod">
          <ac:chgData name="Zhu Arena, GFTIOV, BCOM" userId="a49f412c-db83-45d3-9142-dc597ff7d65b" providerId="ADAL" clId="{46FD2C16-79FF-4FFE-BCE3-742826F5B8DC}" dt="2023-06-14T12:55:53.047" v="1865" actId="1035"/>
          <ac:picMkLst>
            <pc:docMk/>
            <pc:sldMk cId="1195639279" sldId="2146847876"/>
            <ac:picMk id="15" creationId="{1B67BE67-FD50-A2EB-33BA-FE6B84B2404F}"/>
          </ac:picMkLst>
        </pc:picChg>
        <pc:picChg chg="mod">
          <ac:chgData name="Zhu Arena, GFTIOV, BCOM" userId="a49f412c-db83-45d3-9142-dc597ff7d65b" providerId="ADAL" clId="{46FD2C16-79FF-4FFE-BCE3-742826F5B8DC}" dt="2023-06-14T12:56:05.695" v="1882" actId="1035"/>
          <ac:picMkLst>
            <pc:docMk/>
            <pc:sldMk cId="1195639279" sldId="2146847876"/>
            <ac:picMk id="1026" creationId="{B9D9AC23-F994-52EE-96B8-D14A3CA1F0D5}"/>
          </ac:picMkLst>
        </pc:picChg>
        <pc:picChg chg="mod">
          <ac:chgData name="Zhu Arena, GFTIOV, BCOM" userId="a49f412c-db83-45d3-9142-dc597ff7d65b" providerId="ADAL" clId="{46FD2C16-79FF-4FFE-BCE3-742826F5B8DC}" dt="2023-06-14T12:55:53.047" v="1865" actId="1035"/>
          <ac:picMkLst>
            <pc:docMk/>
            <pc:sldMk cId="1195639279" sldId="2146847876"/>
            <ac:picMk id="1028" creationId="{A703C979-BBC2-DDBA-BA40-D94AA2B3A2A1}"/>
          </ac:picMkLst>
        </pc:picChg>
        <pc:picChg chg="mod">
          <ac:chgData name="Zhu Arena, GFTIOV, BCOM" userId="a49f412c-db83-45d3-9142-dc597ff7d65b" providerId="ADAL" clId="{46FD2C16-79FF-4FFE-BCE3-742826F5B8DC}" dt="2023-06-14T12:56:05.695" v="1882" actId="1035"/>
          <ac:picMkLst>
            <pc:docMk/>
            <pc:sldMk cId="1195639279" sldId="2146847876"/>
            <ac:picMk id="1030" creationId="{8F89A814-6D6F-6EFE-8FB4-6204602E57F2}"/>
          </ac:picMkLst>
        </pc:picChg>
        <pc:picChg chg="mod">
          <ac:chgData name="Zhu Arena, GFTIOV, BCOM" userId="a49f412c-db83-45d3-9142-dc597ff7d65b" providerId="ADAL" clId="{46FD2C16-79FF-4FFE-BCE3-742826F5B8DC}" dt="2023-06-14T12:55:53.047" v="1865" actId="1035"/>
          <ac:picMkLst>
            <pc:docMk/>
            <pc:sldMk cId="1195639279" sldId="2146847876"/>
            <ac:picMk id="1032" creationId="{9573A8B1-B6E3-A8B2-5187-CBD0EAE1DA2F}"/>
          </ac:picMkLst>
        </pc:picChg>
      </pc:sldChg>
      <pc:sldChg chg="addSp delSp modSp add del mod modNotesTx">
        <pc:chgData name="Zhu Arena, GFTIOV, BCOM" userId="a49f412c-db83-45d3-9142-dc597ff7d65b" providerId="ADAL" clId="{46FD2C16-79FF-4FFE-BCE3-742826F5B8DC}" dt="2023-06-14T12:16:38.684" v="1531" actId="47"/>
        <pc:sldMkLst>
          <pc:docMk/>
          <pc:sldMk cId="51562783" sldId="2147470771"/>
        </pc:sldMkLst>
        <pc:spChg chg="mod">
          <ac:chgData name="Zhu Arena, GFTIOV, BCOM" userId="a49f412c-db83-45d3-9142-dc597ff7d65b" providerId="ADAL" clId="{46FD2C16-79FF-4FFE-BCE3-742826F5B8DC}" dt="2023-06-14T12:01:52.564" v="1383" actId="20577"/>
          <ac:spMkLst>
            <pc:docMk/>
            <pc:sldMk cId="51562783" sldId="2147470771"/>
            <ac:spMk id="2" creationId="{CA0C6E90-BA04-4C44-B99F-82013378EDDA}"/>
          </ac:spMkLst>
        </pc:spChg>
        <pc:spChg chg="add del">
          <ac:chgData name="Zhu Arena, GFTIOV, BCOM" userId="a49f412c-db83-45d3-9142-dc597ff7d65b" providerId="ADAL" clId="{46FD2C16-79FF-4FFE-BCE3-742826F5B8DC}" dt="2023-06-14T12:03:10.578" v="1390" actId="21"/>
          <ac:spMkLst>
            <pc:docMk/>
            <pc:sldMk cId="51562783" sldId="2147470771"/>
            <ac:spMk id="6" creationId="{D3980753-6BB6-10EA-8EA0-6A904E3490FA}"/>
          </ac:spMkLst>
        </pc:spChg>
        <pc:spChg chg="add del">
          <ac:chgData name="Zhu Arena, GFTIOV, BCOM" userId="a49f412c-db83-45d3-9142-dc597ff7d65b" providerId="ADAL" clId="{46FD2C16-79FF-4FFE-BCE3-742826F5B8DC}" dt="2023-06-14T12:03:10.578" v="1390" actId="21"/>
          <ac:spMkLst>
            <pc:docMk/>
            <pc:sldMk cId="51562783" sldId="2147470771"/>
            <ac:spMk id="8" creationId="{E96EE273-C075-AFF9-E58F-366B861B8D20}"/>
          </ac:spMkLst>
        </pc:spChg>
        <pc:spChg chg="add del">
          <ac:chgData name="Zhu Arena, GFTIOV, BCOM" userId="a49f412c-db83-45d3-9142-dc597ff7d65b" providerId="ADAL" clId="{46FD2C16-79FF-4FFE-BCE3-742826F5B8DC}" dt="2023-06-14T12:03:10.578" v="1390" actId="21"/>
          <ac:spMkLst>
            <pc:docMk/>
            <pc:sldMk cId="51562783" sldId="2147470771"/>
            <ac:spMk id="9" creationId="{00378FDA-C38B-7EAE-A8FE-0B02BFBD5618}"/>
          </ac:spMkLst>
        </pc:spChg>
        <pc:spChg chg="add del">
          <ac:chgData name="Zhu Arena, GFTIOV, BCOM" userId="a49f412c-db83-45d3-9142-dc597ff7d65b" providerId="ADAL" clId="{46FD2C16-79FF-4FFE-BCE3-742826F5B8DC}" dt="2023-06-14T12:03:10.578" v="1390" actId="21"/>
          <ac:spMkLst>
            <pc:docMk/>
            <pc:sldMk cId="51562783" sldId="2147470771"/>
            <ac:spMk id="11" creationId="{81AE8CB7-B136-322D-B718-0C1EF74CA777}"/>
          </ac:spMkLst>
        </pc:spChg>
        <pc:spChg chg="add del">
          <ac:chgData name="Zhu Arena, GFTIOV, BCOM" userId="a49f412c-db83-45d3-9142-dc597ff7d65b" providerId="ADAL" clId="{46FD2C16-79FF-4FFE-BCE3-742826F5B8DC}" dt="2023-06-14T12:03:10.578" v="1390" actId="21"/>
          <ac:spMkLst>
            <pc:docMk/>
            <pc:sldMk cId="51562783" sldId="2147470771"/>
            <ac:spMk id="12" creationId="{25BC06B3-F80D-BECC-6543-4BC1D8BE0BA6}"/>
          </ac:spMkLst>
        </pc:spChg>
        <pc:spChg chg="add del">
          <ac:chgData name="Zhu Arena, GFTIOV, BCOM" userId="a49f412c-db83-45d3-9142-dc597ff7d65b" providerId="ADAL" clId="{46FD2C16-79FF-4FFE-BCE3-742826F5B8DC}" dt="2023-06-14T12:03:10.578" v="1390" actId="21"/>
          <ac:spMkLst>
            <pc:docMk/>
            <pc:sldMk cId="51562783" sldId="2147470771"/>
            <ac:spMk id="13" creationId="{4046335C-62AF-E0F5-1CF9-C2192086DF0D}"/>
          </ac:spMkLst>
        </pc:spChg>
        <pc:spChg chg="add del">
          <ac:chgData name="Zhu Arena, GFTIOV, BCOM" userId="a49f412c-db83-45d3-9142-dc597ff7d65b" providerId="ADAL" clId="{46FD2C16-79FF-4FFE-BCE3-742826F5B8DC}" dt="2023-06-14T12:03:10.578" v="1390" actId="21"/>
          <ac:spMkLst>
            <pc:docMk/>
            <pc:sldMk cId="51562783" sldId="2147470771"/>
            <ac:spMk id="14" creationId="{4415A75E-0D5F-65EF-EEF1-251C3D79E532}"/>
          </ac:spMkLst>
        </pc:spChg>
        <pc:spChg chg="add del">
          <ac:chgData name="Zhu Arena, GFTIOV, BCOM" userId="a49f412c-db83-45d3-9142-dc597ff7d65b" providerId="ADAL" clId="{46FD2C16-79FF-4FFE-BCE3-742826F5B8DC}" dt="2023-06-14T12:03:10.578" v="1390" actId="21"/>
          <ac:spMkLst>
            <pc:docMk/>
            <pc:sldMk cId="51562783" sldId="2147470771"/>
            <ac:spMk id="16" creationId="{987AC085-6F12-A0B5-5BBA-76E3DBEA7FF8}"/>
          </ac:spMkLst>
        </pc:spChg>
        <pc:spChg chg="add del">
          <ac:chgData name="Zhu Arena, GFTIOV, BCOM" userId="a49f412c-db83-45d3-9142-dc597ff7d65b" providerId="ADAL" clId="{46FD2C16-79FF-4FFE-BCE3-742826F5B8DC}" dt="2023-06-14T12:03:10.578" v="1390" actId="21"/>
          <ac:spMkLst>
            <pc:docMk/>
            <pc:sldMk cId="51562783" sldId="2147470771"/>
            <ac:spMk id="17" creationId="{74122B59-44A1-021E-2715-073019299FEB}"/>
          </ac:spMkLst>
        </pc:spChg>
        <pc:spChg chg="add del">
          <ac:chgData name="Zhu Arena, GFTIOV, BCOM" userId="a49f412c-db83-45d3-9142-dc597ff7d65b" providerId="ADAL" clId="{46FD2C16-79FF-4FFE-BCE3-742826F5B8DC}" dt="2023-06-14T12:03:10.578" v="1390" actId="21"/>
          <ac:spMkLst>
            <pc:docMk/>
            <pc:sldMk cId="51562783" sldId="2147470771"/>
            <ac:spMk id="30" creationId="{F763A8C9-58A1-0F1F-72A4-97E726D359C8}"/>
          </ac:spMkLst>
        </pc:spChg>
        <pc:spChg chg="add del">
          <ac:chgData name="Zhu Arena, GFTIOV, BCOM" userId="a49f412c-db83-45d3-9142-dc597ff7d65b" providerId="ADAL" clId="{46FD2C16-79FF-4FFE-BCE3-742826F5B8DC}" dt="2023-06-14T12:03:10.578" v="1390" actId="21"/>
          <ac:spMkLst>
            <pc:docMk/>
            <pc:sldMk cId="51562783" sldId="2147470771"/>
            <ac:spMk id="45" creationId="{37E9F48D-2523-DFCF-9DF4-29E548747C4B}"/>
          </ac:spMkLst>
        </pc:spChg>
        <pc:spChg chg="del">
          <ac:chgData name="Zhu Arena, GFTIOV, BCOM" userId="a49f412c-db83-45d3-9142-dc597ff7d65b" providerId="ADAL" clId="{46FD2C16-79FF-4FFE-BCE3-742826F5B8DC}" dt="2023-06-14T11:59:33.775" v="1360" actId="478"/>
          <ac:spMkLst>
            <pc:docMk/>
            <pc:sldMk cId="51562783" sldId="2147470771"/>
            <ac:spMk id="49" creationId="{E9D6CC6B-E54A-4EE0-7A24-B8C14A4666B9}"/>
          </ac:spMkLst>
        </pc:spChg>
        <pc:spChg chg="add del">
          <ac:chgData name="Zhu Arena, GFTIOV, BCOM" userId="a49f412c-db83-45d3-9142-dc597ff7d65b" providerId="ADAL" clId="{46FD2C16-79FF-4FFE-BCE3-742826F5B8DC}" dt="2023-06-14T12:03:10.578" v="1390" actId="21"/>
          <ac:spMkLst>
            <pc:docMk/>
            <pc:sldMk cId="51562783" sldId="2147470771"/>
            <ac:spMk id="53" creationId="{EACC64E2-FA89-C594-B3EA-AA7E799DBF9D}"/>
          </ac:spMkLst>
        </pc:spChg>
        <pc:spChg chg="add del">
          <ac:chgData name="Zhu Arena, GFTIOV, BCOM" userId="a49f412c-db83-45d3-9142-dc597ff7d65b" providerId="ADAL" clId="{46FD2C16-79FF-4FFE-BCE3-742826F5B8DC}" dt="2023-06-14T12:03:10.578" v="1390" actId="21"/>
          <ac:spMkLst>
            <pc:docMk/>
            <pc:sldMk cId="51562783" sldId="2147470771"/>
            <ac:spMk id="56" creationId="{F219DB82-9048-2723-E7C0-1C9735B1BBC8}"/>
          </ac:spMkLst>
        </pc:spChg>
        <pc:spChg chg="add del">
          <ac:chgData name="Zhu Arena, GFTIOV, BCOM" userId="a49f412c-db83-45d3-9142-dc597ff7d65b" providerId="ADAL" clId="{46FD2C16-79FF-4FFE-BCE3-742826F5B8DC}" dt="2023-06-14T12:03:10.578" v="1390" actId="21"/>
          <ac:spMkLst>
            <pc:docMk/>
            <pc:sldMk cId="51562783" sldId="2147470771"/>
            <ac:spMk id="57" creationId="{B375FD08-5A71-663D-7ED9-11475012D826}"/>
          </ac:spMkLst>
        </pc:spChg>
        <pc:spChg chg="add del">
          <ac:chgData name="Zhu Arena, GFTIOV, BCOM" userId="a49f412c-db83-45d3-9142-dc597ff7d65b" providerId="ADAL" clId="{46FD2C16-79FF-4FFE-BCE3-742826F5B8DC}" dt="2023-06-14T12:03:10.578" v="1390" actId="21"/>
          <ac:spMkLst>
            <pc:docMk/>
            <pc:sldMk cId="51562783" sldId="2147470771"/>
            <ac:spMk id="58" creationId="{561EA1FA-2741-50FE-4331-DD32F89F1C3F}"/>
          </ac:spMkLst>
        </pc:spChg>
        <pc:spChg chg="add del">
          <ac:chgData name="Zhu Arena, GFTIOV, BCOM" userId="a49f412c-db83-45d3-9142-dc597ff7d65b" providerId="ADAL" clId="{46FD2C16-79FF-4FFE-BCE3-742826F5B8DC}" dt="2023-06-14T12:03:10.578" v="1390" actId="21"/>
          <ac:spMkLst>
            <pc:docMk/>
            <pc:sldMk cId="51562783" sldId="2147470771"/>
            <ac:spMk id="1028" creationId="{82AC54B2-C015-4CF5-32AD-B813B2F664FB}"/>
          </ac:spMkLst>
        </pc:spChg>
        <pc:spChg chg="add del mod">
          <ac:chgData name="Zhu Arena, GFTIOV, BCOM" userId="a49f412c-db83-45d3-9142-dc597ff7d65b" providerId="ADAL" clId="{46FD2C16-79FF-4FFE-BCE3-742826F5B8DC}" dt="2023-06-14T12:03:10.578" v="1390" actId="21"/>
          <ac:spMkLst>
            <pc:docMk/>
            <pc:sldMk cId="51562783" sldId="2147470771"/>
            <ac:spMk id="1042" creationId="{E1E09C40-1FF9-A68B-4372-27D807F23221}"/>
          </ac:spMkLst>
        </pc:spChg>
        <pc:spChg chg="mod">
          <ac:chgData name="Zhu Arena, GFTIOV, BCOM" userId="a49f412c-db83-45d3-9142-dc597ff7d65b" providerId="ADAL" clId="{46FD2C16-79FF-4FFE-BCE3-742826F5B8DC}" dt="2023-06-14T11:59:19.751" v="1358" actId="1076"/>
          <ac:spMkLst>
            <pc:docMk/>
            <pc:sldMk cId="51562783" sldId="2147470771"/>
            <ac:spMk id="1048" creationId="{B6824249-68F3-34C0-9319-5A14C031C826}"/>
          </ac:spMkLst>
        </pc:spChg>
        <pc:grpChg chg="add del">
          <ac:chgData name="Zhu Arena, GFTIOV, BCOM" userId="a49f412c-db83-45d3-9142-dc597ff7d65b" providerId="ADAL" clId="{46FD2C16-79FF-4FFE-BCE3-742826F5B8DC}" dt="2023-06-14T12:03:10.578" v="1390" actId="21"/>
          <ac:grpSpMkLst>
            <pc:docMk/>
            <pc:sldMk cId="51562783" sldId="2147470771"/>
            <ac:grpSpMk id="43" creationId="{26723C0B-1E48-3B9A-1D13-0398C8DB8AB9}"/>
          </ac:grpSpMkLst>
        </pc:grpChg>
        <pc:grpChg chg="add del">
          <ac:chgData name="Zhu Arena, GFTIOV, BCOM" userId="a49f412c-db83-45d3-9142-dc597ff7d65b" providerId="ADAL" clId="{46FD2C16-79FF-4FFE-BCE3-742826F5B8DC}" dt="2023-06-14T12:03:10.578" v="1390" actId="21"/>
          <ac:grpSpMkLst>
            <pc:docMk/>
            <pc:sldMk cId="51562783" sldId="2147470771"/>
            <ac:grpSpMk id="51" creationId="{D20DE33A-4369-D94E-4E5B-9EF458353FE5}"/>
          </ac:grpSpMkLst>
        </pc:grpChg>
        <pc:grpChg chg="add del">
          <ac:chgData name="Zhu Arena, GFTIOV, BCOM" userId="a49f412c-db83-45d3-9142-dc597ff7d65b" providerId="ADAL" clId="{46FD2C16-79FF-4FFE-BCE3-742826F5B8DC}" dt="2023-06-14T12:03:10.578" v="1390" actId="21"/>
          <ac:grpSpMkLst>
            <pc:docMk/>
            <pc:sldMk cId="51562783" sldId="2147470771"/>
            <ac:grpSpMk id="54" creationId="{FD4548BC-0BF0-D544-A0F8-4812CAD666DF}"/>
          </ac:grpSpMkLst>
        </pc:grpChg>
        <pc:grpChg chg="add del">
          <ac:chgData name="Zhu Arena, GFTIOV, BCOM" userId="a49f412c-db83-45d3-9142-dc597ff7d65b" providerId="ADAL" clId="{46FD2C16-79FF-4FFE-BCE3-742826F5B8DC}" dt="2023-06-14T12:03:10.578" v="1390" actId="21"/>
          <ac:grpSpMkLst>
            <pc:docMk/>
            <pc:sldMk cId="51562783" sldId="2147470771"/>
            <ac:grpSpMk id="1031" creationId="{C278EB06-D97A-17D3-E4C1-C6658E4DB9DC}"/>
          </ac:grpSpMkLst>
        </pc:grpChg>
        <pc:grpChg chg="add del">
          <ac:chgData name="Zhu Arena, GFTIOV, BCOM" userId="a49f412c-db83-45d3-9142-dc597ff7d65b" providerId="ADAL" clId="{46FD2C16-79FF-4FFE-BCE3-742826F5B8DC}" dt="2023-06-14T12:03:10.578" v="1390" actId="21"/>
          <ac:grpSpMkLst>
            <pc:docMk/>
            <pc:sldMk cId="51562783" sldId="2147470771"/>
            <ac:grpSpMk id="1100" creationId="{E153061B-DA88-7587-B9A0-D323619672D2}"/>
          </ac:grpSpMkLst>
        </pc:grpChg>
        <pc:graphicFrameChg chg="add del">
          <ac:chgData name="Zhu Arena, GFTIOV, BCOM" userId="a49f412c-db83-45d3-9142-dc597ff7d65b" providerId="ADAL" clId="{46FD2C16-79FF-4FFE-BCE3-742826F5B8DC}" dt="2023-06-14T12:03:10.578" v="1390" actId="21"/>
          <ac:graphicFrameMkLst>
            <pc:docMk/>
            <pc:sldMk cId="51562783" sldId="2147470771"/>
            <ac:graphicFrameMk id="29" creationId="{20FBA14E-484F-9847-DDA7-E40A001A50A6}"/>
          </ac:graphicFrameMkLst>
        </pc:graphicFrameChg>
        <pc:graphicFrameChg chg="add del">
          <ac:chgData name="Zhu Arena, GFTIOV, BCOM" userId="a49f412c-db83-45d3-9142-dc597ff7d65b" providerId="ADAL" clId="{46FD2C16-79FF-4FFE-BCE3-742826F5B8DC}" dt="2023-06-14T12:03:10.578" v="1390" actId="21"/>
          <ac:graphicFrameMkLst>
            <pc:docMk/>
            <pc:sldMk cId="51562783" sldId="2147470771"/>
            <ac:graphicFrameMk id="33" creationId="{567F0371-6975-5A0E-2053-31C6F8C94589}"/>
          </ac:graphicFrameMkLst>
        </pc:graphicFrameChg>
        <pc:graphicFrameChg chg="add del">
          <ac:chgData name="Zhu Arena, GFTIOV, BCOM" userId="a49f412c-db83-45d3-9142-dc597ff7d65b" providerId="ADAL" clId="{46FD2C16-79FF-4FFE-BCE3-742826F5B8DC}" dt="2023-06-14T12:03:10.578" v="1390" actId="21"/>
          <ac:graphicFrameMkLst>
            <pc:docMk/>
            <pc:sldMk cId="51562783" sldId="2147470771"/>
            <ac:graphicFrameMk id="34" creationId="{203A10E9-98EA-DBA8-ECA0-12350BAF54C9}"/>
          </ac:graphicFrameMkLst>
        </pc:graphicFrameChg>
        <pc:graphicFrameChg chg="add del">
          <ac:chgData name="Zhu Arena, GFTIOV, BCOM" userId="a49f412c-db83-45d3-9142-dc597ff7d65b" providerId="ADAL" clId="{46FD2C16-79FF-4FFE-BCE3-742826F5B8DC}" dt="2023-06-14T12:03:10.578" v="1390" actId="21"/>
          <ac:graphicFrameMkLst>
            <pc:docMk/>
            <pc:sldMk cId="51562783" sldId="2147470771"/>
            <ac:graphicFrameMk id="44" creationId="{88D1D75C-18D0-7C59-D3E1-519F492E780C}"/>
          </ac:graphicFrameMkLst>
        </pc:graphicFrameChg>
        <pc:picChg chg="add del">
          <ac:chgData name="Zhu Arena, GFTIOV, BCOM" userId="a49f412c-db83-45d3-9142-dc597ff7d65b" providerId="ADAL" clId="{46FD2C16-79FF-4FFE-BCE3-742826F5B8DC}" dt="2023-06-14T12:03:10.578" v="1390" actId="21"/>
          <ac:picMkLst>
            <pc:docMk/>
            <pc:sldMk cId="51562783" sldId="2147470771"/>
            <ac:picMk id="20" creationId="{AC8618DB-C3CD-E56C-D31B-04AB6C5B453A}"/>
          </ac:picMkLst>
        </pc:picChg>
        <pc:picChg chg="add del">
          <ac:chgData name="Zhu Arena, GFTIOV, BCOM" userId="a49f412c-db83-45d3-9142-dc597ff7d65b" providerId="ADAL" clId="{46FD2C16-79FF-4FFE-BCE3-742826F5B8DC}" dt="2023-06-14T12:03:10.578" v="1390" actId="21"/>
          <ac:picMkLst>
            <pc:docMk/>
            <pc:sldMk cId="51562783" sldId="2147470771"/>
            <ac:picMk id="21" creationId="{F437E604-0850-6206-1691-F33EDFEE4F74}"/>
          </ac:picMkLst>
        </pc:picChg>
        <pc:picChg chg="add del">
          <ac:chgData name="Zhu Arena, GFTIOV, BCOM" userId="a49f412c-db83-45d3-9142-dc597ff7d65b" providerId="ADAL" clId="{46FD2C16-79FF-4FFE-BCE3-742826F5B8DC}" dt="2023-06-14T12:03:10.578" v="1390" actId="21"/>
          <ac:picMkLst>
            <pc:docMk/>
            <pc:sldMk cId="51562783" sldId="2147470771"/>
            <ac:picMk id="24" creationId="{6B2BB83F-8E60-46E5-8174-1D11CEEC9EEA}"/>
          </ac:picMkLst>
        </pc:picChg>
        <pc:picChg chg="add del">
          <ac:chgData name="Zhu Arena, GFTIOV, BCOM" userId="a49f412c-db83-45d3-9142-dc597ff7d65b" providerId="ADAL" clId="{46FD2C16-79FF-4FFE-BCE3-742826F5B8DC}" dt="2023-06-14T12:03:10.578" v="1390" actId="21"/>
          <ac:picMkLst>
            <pc:docMk/>
            <pc:sldMk cId="51562783" sldId="2147470771"/>
            <ac:picMk id="36" creationId="{5506D733-BC3F-C481-7FEF-90BC4E2E05E0}"/>
          </ac:picMkLst>
        </pc:picChg>
        <pc:picChg chg="add del">
          <ac:chgData name="Zhu Arena, GFTIOV, BCOM" userId="a49f412c-db83-45d3-9142-dc597ff7d65b" providerId="ADAL" clId="{46FD2C16-79FF-4FFE-BCE3-742826F5B8DC}" dt="2023-06-14T12:03:10.578" v="1390" actId="21"/>
          <ac:picMkLst>
            <pc:docMk/>
            <pc:sldMk cId="51562783" sldId="2147470771"/>
            <ac:picMk id="38" creationId="{3E2BEC2B-0A55-99EF-4210-FB31C1F3219D}"/>
          </ac:picMkLst>
        </pc:picChg>
        <pc:picChg chg="add del">
          <ac:chgData name="Zhu Arena, GFTIOV, BCOM" userId="a49f412c-db83-45d3-9142-dc597ff7d65b" providerId="ADAL" clId="{46FD2C16-79FF-4FFE-BCE3-742826F5B8DC}" dt="2023-06-14T12:03:10.578" v="1390" actId="21"/>
          <ac:picMkLst>
            <pc:docMk/>
            <pc:sldMk cId="51562783" sldId="2147470771"/>
            <ac:picMk id="1034" creationId="{49A50BB0-ADA7-1F46-21B4-2B6BDEC9DF67}"/>
          </ac:picMkLst>
        </pc:picChg>
        <pc:picChg chg="add del">
          <ac:chgData name="Zhu Arena, GFTIOV, BCOM" userId="a49f412c-db83-45d3-9142-dc597ff7d65b" providerId="ADAL" clId="{46FD2C16-79FF-4FFE-BCE3-742826F5B8DC}" dt="2023-06-14T12:03:10.578" v="1390" actId="21"/>
          <ac:picMkLst>
            <pc:docMk/>
            <pc:sldMk cId="51562783" sldId="2147470771"/>
            <ac:picMk id="1036" creationId="{FFBA590C-75B2-7333-ED9E-A024CC7FFB3A}"/>
          </ac:picMkLst>
        </pc:picChg>
        <pc:picChg chg="add del">
          <ac:chgData name="Zhu Arena, GFTIOV, BCOM" userId="a49f412c-db83-45d3-9142-dc597ff7d65b" providerId="ADAL" clId="{46FD2C16-79FF-4FFE-BCE3-742826F5B8DC}" dt="2023-06-14T12:03:10.578" v="1390" actId="21"/>
          <ac:picMkLst>
            <pc:docMk/>
            <pc:sldMk cId="51562783" sldId="2147470771"/>
            <ac:picMk id="1067" creationId="{1D6153BA-6F89-8834-EC8A-5CBD9FEBE802}"/>
          </ac:picMkLst>
        </pc:picChg>
        <pc:cxnChg chg="add del">
          <ac:chgData name="Zhu Arena, GFTIOV, BCOM" userId="a49f412c-db83-45d3-9142-dc597ff7d65b" providerId="ADAL" clId="{46FD2C16-79FF-4FFE-BCE3-742826F5B8DC}" dt="2023-06-14T12:03:10.578" v="1390" actId="21"/>
          <ac:cxnSpMkLst>
            <pc:docMk/>
            <pc:sldMk cId="51562783" sldId="2147470771"/>
            <ac:cxnSpMk id="3" creationId="{40C3CEC7-A706-06D5-ACA8-00929098189E}"/>
          </ac:cxnSpMkLst>
        </pc:cxnChg>
        <pc:cxnChg chg="add del">
          <ac:chgData name="Zhu Arena, GFTIOV, BCOM" userId="a49f412c-db83-45d3-9142-dc597ff7d65b" providerId="ADAL" clId="{46FD2C16-79FF-4FFE-BCE3-742826F5B8DC}" dt="2023-06-14T12:03:10.578" v="1390" actId="21"/>
          <ac:cxnSpMkLst>
            <pc:docMk/>
            <pc:sldMk cId="51562783" sldId="2147470771"/>
            <ac:cxnSpMk id="28" creationId="{E5934D63-2F45-11F4-22DF-25BA2C92F9D0}"/>
          </ac:cxnSpMkLst>
        </pc:cxnChg>
        <pc:cxnChg chg="add del">
          <ac:chgData name="Zhu Arena, GFTIOV, BCOM" userId="a49f412c-db83-45d3-9142-dc597ff7d65b" providerId="ADAL" clId="{46FD2C16-79FF-4FFE-BCE3-742826F5B8DC}" dt="2023-06-14T12:03:10.578" v="1390" actId="21"/>
          <ac:cxnSpMkLst>
            <pc:docMk/>
            <pc:sldMk cId="51562783" sldId="2147470771"/>
            <ac:cxnSpMk id="32" creationId="{115C1E5C-F71E-3C91-A98C-B0E199C4E467}"/>
          </ac:cxnSpMkLst>
        </pc:cxnChg>
        <pc:cxnChg chg="add del">
          <ac:chgData name="Zhu Arena, GFTIOV, BCOM" userId="a49f412c-db83-45d3-9142-dc597ff7d65b" providerId="ADAL" clId="{46FD2C16-79FF-4FFE-BCE3-742826F5B8DC}" dt="2023-06-14T12:03:10.578" v="1390" actId="21"/>
          <ac:cxnSpMkLst>
            <pc:docMk/>
            <pc:sldMk cId="51562783" sldId="2147470771"/>
            <ac:cxnSpMk id="35" creationId="{5061DFC8-19A4-BC29-9DBD-41EC04FE0D5A}"/>
          </ac:cxnSpMkLst>
        </pc:cxnChg>
      </pc:sldChg>
      <pc:sldChg chg="delSp modSp del mod">
        <pc:chgData name="Zhu Arena, GFTIOV, BCOM" userId="a49f412c-db83-45d3-9142-dc597ff7d65b" providerId="ADAL" clId="{46FD2C16-79FF-4FFE-BCE3-742826F5B8DC}" dt="2023-06-14T08:51:16.087" v="357" actId="47"/>
        <pc:sldMkLst>
          <pc:docMk/>
          <pc:sldMk cId="2975353482" sldId="2147470798"/>
        </pc:sldMkLst>
        <pc:spChg chg="del mod">
          <ac:chgData name="Zhu Arena, GFTIOV, BCOM" userId="a49f412c-db83-45d3-9142-dc597ff7d65b" providerId="ADAL" clId="{46FD2C16-79FF-4FFE-BCE3-742826F5B8DC}" dt="2023-06-14T08:48:37.096" v="152" actId="21"/>
          <ac:spMkLst>
            <pc:docMk/>
            <pc:sldMk cId="2975353482" sldId="2147470798"/>
            <ac:spMk id="52" creationId="{D06584AA-0120-E7A2-DD9C-94446286BC77}"/>
          </ac:spMkLst>
        </pc:spChg>
        <pc:picChg chg="del">
          <ac:chgData name="Zhu Arena, GFTIOV, BCOM" userId="a49f412c-db83-45d3-9142-dc597ff7d65b" providerId="ADAL" clId="{46FD2C16-79FF-4FFE-BCE3-742826F5B8DC}" dt="2023-06-14T08:13:02.519" v="8" actId="21"/>
          <ac:picMkLst>
            <pc:docMk/>
            <pc:sldMk cId="2975353482" sldId="2147470798"/>
            <ac:picMk id="48" creationId="{D59430C3-0EC5-C1CE-605D-FC2B9C39375E}"/>
          </ac:picMkLst>
        </pc:picChg>
        <pc:picChg chg="del">
          <ac:chgData name="Zhu Arena, GFTIOV, BCOM" userId="a49f412c-db83-45d3-9142-dc597ff7d65b" providerId="ADAL" clId="{46FD2C16-79FF-4FFE-BCE3-742826F5B8DC}" dt="2023-06-14T08:13:12.721" v="10" actId="21"/>
          <ac:picMkLst>
            <pc:docMk/>
            <pc:sldMk cId="2975353482" sldId="2147470798"/>
            <ac:picMk id="49" creationId="{5BDC0567-5B1A-03BD-A97A-0867A3B43BF5}"/>
          </ac:picMkLst>
        </pc:picChg>
        <pc:picChg chg="del ord">
          <ac:chgData name="Zhu Arena, GFTIOV, BCOM" userId="a49f412c-db83-45d3-9142-dc597ff7d65b" providerId="ADAL" clId="{46FD2C16-79FF-4FFE-BCE3-742826F5B8DC}" dt="2023-06-14T08:14:38.109" v="12" actId="21"/>
          <ac:picMkLst>
            <pc:docMk/>
            <pc:sldMk cId="2975353482" sldId="2147470798"/>
            <ac:picMk id="50" creationId="{8B3622AB-F0E7-0ACA-F470-FF3910ACFF00}"/>
          </ac:picMkLst>
        </pc:picChg>
      </pc:sldChg>
      <pc:sldChg chg="del">
        <pc:chgData name="Zhu Arena, GFTIOV, BCOM" userId="a49f412c-db83-45d3-9142-dc597ff7d65b" providerId="ADAL" clId="{46FD2C16-79FF-4FFE-BCE3-742826F5B8DC}" dt="2023-06-14T08:12:17.422" v="3" actId="47"/>
        <pc:sldMkLst>
          <pc:docMk/>
          <pc:sldMk cId="3204132226" sldId="2147470799"/>
        </pc:sldMkLst>
      </pc:sldChg>
      <pc:sldChg chg="addSp delSp modSp new mod ord modNotesTx">
        <pc:chgData name="Zhu Arena, GFTIOV, BCOM" userId="a49f412c-db83-45d3-9142-dc597ff7d65b" providerId="ADAL" clId="{46FD2C16-79FF-4FFE-BCE3-742826F5B8DC}" dt="2023-06-16T03:33:32.112" v="6863" actId="403"/>
        <pc:sldMkLst>
          <pc:docMk/>
          <pc:sldMk cId="3430926014" sldId="2147470799"/>
        </pc:sldMkLst>
        <pc:spChg chg="mod">
          <ac:chgData name="Zhu Arena, GFTIOV, BCOM" userId="a49f412c-db83-45d3-9142-dc597ff7d65b" providerId="ADAL" clId="{46FD2C16-79FF-4FFE-BCE3-742826F5B8DC}" dt="2023-06-15T08:00:17.189" v="4899" actId="790"/>
          <ac:spMkLst>
            <pc:docMk/>
            <pc:sldMk cId="3430926014" sldId="2147470799"/>
            <ac:spMk id="2" creationId="{2F081582-8E0D-8407-A15E-66B8CD290143}"/>
          </ac:spMkLst>
        </pc:spChg>
        <pc:spChg chg="mod">
          <ac:chgData name="Zhu Arena, GFTIOV, BCOM" userId="a49f412c-db83-45d3-9142-dc597ff7d65b" providerId="ADAL" clId="{46FD2C16-79FF-4FFE-BCE3-742826F5B8DC}" dt="2023-06-15T08:00:17.189" v="4900" actId="790"/>
          <ac:spMkLst>
            <pc:docMk/>
            <pc:sldMk cId="3430926014" sldId="2147470799"/>
            <ac:spMk id="3" creationId="{3FB60434-A9CB-F1D7-5F41-5C699D55CAE2}"/>
          </ac:spMkLst>
        </pc:spChg>
        <pc:spChg chg="del">
          <ac:chgData name="Zhu Arena, GFTIOV, BCOM" userId="a49f412c-db83-45d3-9142-dc597ff7d65b" providerId="ADAL" clId="{46FD2C16-79FF-4FFE-BCE3-742826F5B8DC}" dt="2023-06-14T08:13:07.701" v="9"/>
          <ac:spMkLst>
            <pc:docMk/>
            <pc:sldMk cId="3430926014" sldId="2147470799"/>
            <ac:spMk id="4" creationId="{C6491F52-5351-662A-0254-7F77DE1D314E}"/>
          </ac:spMkLst>
        </pc:spChg>
        <pc:spChg chg="del">
          <ac:chgData name="Zhu Arena, GFTIOV, BCOM" userId="a49f412c-db83-45d3-9142-dc597ff7d65b" providerId="ADAL" clId="{46FD2C16-79FF-4FFE-BCE3-742826F5B8DC}" dt="2023-06-14T08:14:34.403" v="11"/>
          <ac:spMkLst>
            <pc:docMk/>
            <pc:sldMk cId="3430926014" sldId="2147470799"/>
            <ac:spMk id="5" creationId="{12B4758A-18E5-6CCC-A527-66801FB7DD66}"/>
          </ac:spMkLst>
        </pc:spChg>
        <pc:spChg chg="del">
          <ac:chgData name="Zhu Arena, GFTIOV, BCOM" userId="a49f412c-db83-45d3-9142-dc597ff7d65b" providerId="ADAL" clId="{46FD2C16-79FF-4FFE-BCE3-742826F5B8DC}" dt="2023-06-14T08:14:41.391" v="13"/>
          <ac:spMkLst>
            <pc:docMk/>
            <pc:sldMk cId="3430926014" sldId="2147470799"/>
            <ac:spMk id="6" creationId="{1B475994-D2C3-8D1C-9360-E2F772D009CF}"/>
          </ac:spMkLst>
        </pc:spChg>
        <pc:spChg chg="del">
          <ac:chgData name="Zhu Arena, GFTIOV, BCOM" userId="a49f412c-db83-45d3-9142-dc597ff7d65b" providerId="ADAL" clId="{46FD2C16-79FF-4FFE-BCE3-742826F5B8DC}" dt="2023-06-14T08:41:58.650" v="139"/>
          <ac:spMkLst>
            <pc:docMk/>
            <pc:sldMk cId="3430926014" sldId="2147470799"/>
            <ac:spMk id="7" creationId="{0A2DFDD5-7844-CD2F-A5BF-51D44E07F3D1}"/>
          </ac:spMkLst>
        </pc:spChg>
        <pc:spChg chg="mod ord">
          <ac:chgData name="Zhu Arena, GFTIOV, BCOM" userId="a49f412c-db83-45d3-9142-dc597ff7d65b" providerId="ADAL" clId="{46FD2C16-79FF-4FFE-BCE3-742826F5B8DC}" dt="2023-06-15T08:00:17.197" v="4910" actId="790"/>
          <ac:spMkLst>
            <pc:docMk/>
            <pc:sldMk cId="3430926014" sldId="2147470799"/>
            <ac:spMk id="8" creationId="{BED78507-EEA6-DA40-2DF8-4C7841B9167B}"/>
          </ac:spMkLst>
        </pc:spChg>
        <pc:spChg chg="mod ord">
          <ac:chgData name="Zhu Arena, GFTIOV, BCOM" userId="a49f412c-db83-45d3-9142-dc597ff7d65b" providerId="ADAL" clId="{46FD2C16-79FF-4FFE-BCE3-742826F5B8DC}" dt="2023-06-15T10:13:53.456" v="6027" actId="1036"/>
          <ac:spMkLst>
            <pc:docMk/>
            <pc:sldMk cId="3430926014" sldId="2147470799"/>
            <ac:spMk id="9" creationId="{3E407FFC-9C11-15AF-C658-96B2FF984EC8}"/>
          </ac:spMkLst>
        </pc:spChg>
        <pc:spChg chg="mod ord">
          <ac:chgData name="Zhu Arena, GFTIOV, BCOM" userId="a49f412c-db83-45d3-9142-dc597ff7d65b" providerId="ADAL" clId="{46FD2C16-79FF-4FFE-BCE3-742826F5B8DC}" dt="2023-06-15T08:00:17.189" v="4903" actId="790"/>
          <ac:spMkLst>
            <pc:docMk/>
            <pc:sldMk cId="3430926014" sldId="2147470799"/>
            <ac:spMk id="10" creationId="{650C234F-28C2-3951-75F9-2954A0034ED2}"/>
          </ac:spMkLst>
        </pc:spChg>
        <pc:spChg chg="mod ord">
          <ac:chgData name="Zhu Arena, GFTIOV, BCOM" userId="a49f412c-db83-45d3-9142-dc597ff7d65b" providerId="ADAL" clId="{46FD2C16-79FF-4FFE-BCE3-742826F5B8DC}" dt="2023-06-15T08:00:17.189" v="4904" actId="790"/>
          <ac:spMkLst>
            <pc:docMk/>
            <pc:sldMk cId="3430926014" sldId="2147470799"/>
            <ac:spMk id="11" creationId="{FA17A128-A8D0-D823-4DE4-CCD3D117C280}"/>
          </ac:spMkLst>
        </pc:spChg>
        <pc:spChg chg="del">
          <ac:chgData name="Zhu Arena, GFTIOV, BCOM" userId="a49f412c-db83-45d3-9142-dc597ff7d65b" providerId="ADAL" clId="{46FD2C16-79FF-4FFE-BCE3-742826F5B8DC}" dt="2023-06-14T08:44:34.305" v="144"/>
          <ac:spMkLst>
            <pc:docMk/>
            <pc:sldMk cId="3430926014" sldId="2147470799"/>
            <ac:spMk id="12" creationId="{7BBF0022-465E-2DC9-A625-5EF9E0E4A673}"/>
          </ac:spMkLst>
        </pc:spChg>
        <pc:spChg chg="del">
          <ac:chgData name="Zhu Arena, GFTIOV, BCOM" userId="a49f412c-db83-45d3-9142-dc597ff7d65b" providerId="ADAL" clId="{46FD2C16-79FF-4FFE-BCE3-742826F5B8DC}" dt="2023-06-14T08:46:40.758" v="148"/>
          <ac:spMkLst>
            <pc:docMk/>
            <pc:sldMk cId="3430926014" sldId="2147470799"/>
            <ac:spMk id="13" creationId="{15D26E15-5044-611E-DBE2-B93BEA1473E1}"/>
          </ac:spMkLst>
        </pc:spChg>
        <pc:spChg chg="del">
          <ac:chgData name="Zhu Arena, GFTIOV, BCOM" userId="a49f412c-db83-45d3-9142-dc597ff7d65b" providerId="ADAL" clId="{46FD2C16-79FF-4FFE-BCE3-742826F5B8DC}" dt="2023-06-14T08:19:11.536" v="33"/>
          <ac:spMkLst>
            <pc:docMk/>
            <pc:sldMk cId="3430926014" sldId="2147470799"/>
            <ac:spMk id="14" creationId="{31A73DED-5F87-AB55-0158-1DD00F4C30CA}"/>
          </ac:spMkLst>
        </pc:spChg>
        <pc:spChg chg="del">
          <ac:chgData name="Zhu Arena, GFTIOV, BCOM" userId="a49f412c-db83-45d3-9142-dc597ff7d65b" providerId="ADAL" clId="{46FD2C16-79FF-4FFE-BCE3-742826F5B8DC}" dt="2023-06-14T08:48:20.706" v="150"/>
          <ac:spMkLst>
            <pc:docMk/>
            <pc:sldMk cId="3430926014" sldId="2147470799"/>
            <ac:spMk id="15" creationId="{EBD36133-CC3A-0FF7-58B6-B0402497D98F}"/>
          </ac:spMkLst>
        </pc:spChg>
        <pc:spChg chg="mod ord">
          <ac:chgData name="Zhu Arena, GFTIOV, BCOM" userId="a49f412c-db83-45d3-9142-dc597ff7d65b" providerId="ADAL" clId="{46FD2C16-79FF-4FFE-BCE3-742826F5B8DC}" dt="2023-06-15T10:13:53.456" v="6027" actId="1036"/>
          <ac:spMkLst>
            <pc:docMk/>
            <pc:sldMk cId="3430926014" sldId="2147470799"/>
            <ac:spMk id="16" creationId="{C7C4CEDC-DFEB-E1F8-0A46-5A5A2341C3E5}"/>
          </ac:spMkLst>
        </pc:spChg>
        <pc:spChg chg="mod ord">
          <ac:chgData name="Zhu Arena, GFTIOV, BCOM" userId="a49f412c-db83-45d3-9142-dc597ff7d65b" providerId="ADAL" clId="{46FD2C16-79FF-4FFE-BCE3-742826F5B8DC}" dt="2023-06-15T10:13:53.456" v="6027" actId="1036"/>
          <ac:spMkLst>
            <pc:docMk/>
            <pc:sldMk cId="3430926014" sldId="2147470799"/>
            <ac:spMk id="17" creationId="{8C388C00-2C84-DDF1-C556-5B5C54344F96}"/>
          </ac:spMkLst>
        </pc:spChg>
        <pc:spChg chg="mod ord">
          <ac:chgData name="Zhu Arena, GFTIOV, BCOM" userId="a49f412c-db83-45d3-9142-dc597ff7d65b" providerId="ADAL" clId="{46FD2C16-79FF-4FFE-BCE3-742826F5B8DC}" dt="2023-06-15T08:00:17.189" v="4908" actId="790"/>
          <ac:spMkLst>
            <pc:docMk/>
            <pc:sldMk cId="3430926014" sldId="2147470799"/>
            <ac:spMk id="18" creationId="{30D4B249-523D-5DAE-EA8A-3A3F190D1B3A}"/>
          </ac:spMkLst>
        </pc:spChg>
        <pc:spChg chg="mod ord">
          <ac:chgData name="Zhu Arena, GFTIOV, BCOM" userId="a49f412c-db83-45d3-9142-dc597ff7d65b" providerId="ADAL" clId="{46FD2C16-79FF-4FFE-BCE3-742826F5B8DC}" dt="2023-06-15T10:13:53.456" v="6027" actId="1036"/>
          <ac:spMkLst>
            <pc:docMk/>
            <pc:sldMk cId="3430926014" sldId="2147470799"/>
            <ac:spMk id="19" creationId="{E216ABC1-4F7C-4A4D-22EA-E39B6EFDD131}"/>
          </ac:spMkLst>
        </pc:spChg>
        <pc:spChg chg="mod">
          <ac:chgData name="Zhu Arena, GFTIOV, BCOM" userId="a49f412c-db83-45d3-9142-dc597ff7d65b" providerId="ADAL" clId="{46FD2C16-79FF-4FFE-BCE3-742826F5B8DC}" dt="2023-06-16T03:33:32.112" v="6863" actId="403"/>
          <ac:spMkLst>
            <pc:docMk/>
            <pc:sldMk cId="3430926014" sldId="2147470799"/>
            <ac:spMk id="20" creationId="{96E3CF59-F565-1B9B-7438-C73705CE507B}"/>
          </ac:spMkLst>
        </pc:spChg>
        <pc:spChg chg="add del mod ord">
          <ac:chgData name="Zhu Arena, GFTIOV, BCOM" userId="a49f412c-db83-45d3-9142-dc597ff7d65b" providerId="ADAL" clId="{46FD2C16-79FF-4FFE-BCE3-742826F5B8DC}" dt="2023-06-14T08:32:51.039" v="136"/>
          <ac:spMkLst>
            <pc:docMk/>
            <pc:sldMk cId="3430926014" sldId="2147470799"/>
            <ac:spMk id="25" creationId="{27E21664-3D6F-81F9-0437-F3BE4A490131}"/>
          </ac:spMkLst>
        </pc:spChg>
        <pc:spChg chg="add del mod">
          <ac:chgData name="Zhu Arena, GFTIOV, BCOM" userId="a49f412c-db83-45d3-9142-dc597ff7d65b" providerId="ADAL" clId="{46FD2C16-79FF-4FFE-BCE3-742826F5B8DC}" dt="2023-06-14T08:23:02.616" v="116" actId="478"/>
          <ac:spMkLst>
            <pc:docMk/>
            <pc:sldMk cId="3430926014" sldId="2147470799"/>
            <ac:spMk id="28" creationId="{CE9EBE57-4F09-C8F7-E171-70FD689DE087}"/>
          </ac:spMkLst>
        </pc:spChg>
        <pc:spChg chg="add del mod ord">
          <ac:chgData name="Zhu Arena, GFTIOV, BCOM" userId="a49f412c-db83-45d3-9142-dc597ff7d65b" providerId="ADAL" clId="{46FD2C16-79FF-4FFE-BCE3-742826F5B8DC}" dt="2023-06-14T08:24:45.091" v="135"/>
          <ac:spMkLst>
            <pc:docMk/>
            <pc:sldMk cId="3430926014" sldId="2147470799"/>
            <ac:spMk id="30" creationId="{D9B8EB14-E1EC-A266-4B81-BC2E61851E25}"/>
          </ac:spMkLst>
        </pc:spChg>
        <pc:spChg chg="add del mod ord">
          <ac:chgData name="Zhu Arena, GFTIOV, BCOM" userId="a49f412c-db83-45d3-9142-dc597ff7d65b" providerId="ADAL" clId="{46FD2C16-79FF-4FFE-BCE3-742826F5B8DC}" dt="2023-06-14T08:47:49.726" v="149"/>
          <ac:spMkLst>
            <pc:docMk/>
            <pc:sldMk cId="3430926014" sldId="2147470799"/>
            <ac:spMk id="32" creationId="{AF125712-5B0A-C0FC-449E-249DD4A30F62}"/>
          </ac:spMkLst>
        </pc:spChg>
        <pc:spChg chg="add del mod">
          <ac:chgData name="Zhu Arena, GFTIOV, BCOM" userId="a49f412c-db83-45d3-9142-dc597ff7d65b" providerId="ADAL" clId="{46FD2C16-79FF-4FFE-BCE3-742826F5B8DC}" dt="2023-06-14T08:46:08.430" v="146"/>
          <ac:spMkLst>
            <pc:docMk/>
            <pc:sldMk cId="3430926014" sldId="2147470799"/>
            <ac:spMk id="40" creationId="{4F347EFC-F373-EF90-C013-2B20DEFA14A6}"/>
          </ac:spMkLst>
        </pc:spChg>
        <pc:spChg chg="add mod ord">
          <ac:chgData name="Zhu Arena, GFTIOV, BCOM" userId="a49f412c-db83-45d3-9142-dc597ff7d65b" providerId="ADAL" clId="{46FD2C16-79FF-4FFE-BCE3-742826F5B8DC}" dt="2023-06-15T08:00:17.189" v="4901" actId="790"/>
          <ac:spMkLst>
            <pc:docMk/>
            <pc:sldMk cId="3430926014" sldId="2147470799"/>
            <ac:spMk id="43" creationId="{BA53FEFE-0A9C-7123-4FCD-7BB961BE8DE4}"/>
          </ac:spMkLst>
        </pc:spChg>
        <pc:spChg chg="add mod">
          <ac:chgData name="Zhu Arena, GFTIOV, BCOM" userId="a49f412c-db83-45d3-9142-dc597ff7d65b" providerId="ADAL" clId="{46FD2C16-79FF-4FFE-BCE3-742826F5B8DC}" dt="2023-06-15T08:00:17.189" v="4905" actId="790"/>
          <ac:spMkLst>
            <pc:docMk/>
            <pc:sldMk cId="3430926014" sldId="2147470799"/>
            <ac:spMk id="44" creationId="{615FBA13-ED22-898C-6668-D26768B8C131}"/>
          </ac:spMkLst>
        </pc:spChg>
        <pc:spChg chg="add del mod">
          <ac:chgData name="Zhu Arena, GFTIOV, BCOM" userId="a49f412c-db83-45d3-9142-dc597ff7d65b" providerId="ADAL" clId="{46FD2C16-79FF-4FFE-BCE3-742826F5B8DC}" dt="2023-06-14T12:15:24.012" v="1479"/>
          <ac:spMkLst>
            <pc:docMk/>
            <pc:sldMk cId="3430926014" sldId="2147470799"/>
            <ac:spMk id="46" creationId="{1DFA7E57-9167-0DD1-CD4D-4FCD7F4E6E17}"/>
          </ac:spMkLst>
        </pc:spChg>
        <pc:spChg chg="add del mod">
          <ac:chgData name="Zhu Arena, GFTIOV, BCOM" userId="a49f412c-db83-45d3-9142-dc597ff7d65b" providerId="ADAL" clId="{46FD2C16-79FF-4FFE-BCE3-742826F5B8DC}" dt="2023-06-14T13:32:35.150" v="2463"/>
          <ac:spMkLst>
            <pc:docMk/>
            <pc:sldMk cId="3430926014" sldId="2147470799"/>
            <ac:spMk id="49" creationId="{A2DD7C30-9EC4-2680-5E4B-8E9B25DDE502}"/>
          </ac:spMkLst>
        </pc:spChg>
        <pc:spChg chg="add mod">
          <ac:chgData name="Zhu Arena, GFTIOV, BCOM" userId="a49f412c-db83-45d3-9142-dc597ff7d65b" providerId="ADAL" clId="{46FD2C16-79FF-4FFE-BCE3-742826F5B8DC}" dt="2023-06-15T08:00:17.197" v="4911" actId="790"/>
          <ac:spMkLst>
            <pc:docMk/>
            <pc:sldMk cId="3430926014" sldId="2147470799"/>
            <ac:spMk id="51" creationId="{73E67748-49A1-2622-FAE1-C96B9116E529}"/>
          </ac:spMkLst>
        </pc:spChg>
        <pc:picChg chg="add del mod">
          <ac:chgData name="Zhu Arena, GFTIOV, BCOM" userId="a49f412c-db83-45d3-9142-dc597ff7d65b" providerId="ADAL" clId="{46FD2C16-79FF-4FFE-BCE3-742826F5B8DC}" dt="2023-06-14T08:23:05.402" v="117" actId="478"/>
          <ac:picMkLst>
            <pc:docMk/>
            <pc:sldMk cId="3430926014" sldId="2147470799"/>
            <ac:picMk id="21" creationId="{124554DF-2530-6431-546F-65F7FB4D3A25}"/>
          </ac:picMkLst>
        </pc:picChg>
        <pc:picChg chg="add mod">
          <ac:chgData name="Zhu Arena, GFTIOV, BCOM" userId="a49f412c-db83-45d3-9142-dc597ff7d65b" providerId="ADAL" clId="{46FD2C16-79FF-4FFE-BCE3-742826F5B8DC}" dt="2023-06-15T02:18:20.609" v="3046" actId="1076"/>
          <ac:picMkLst>
            <pc:docMk/>
            <pc:sldMk cId="3430926014" sldId="2147470799"/>
            <ac:picMk id="22" creationId="{D34742EF-805A-0C7C-90F0-4E7A81D9445B}"/>
          </ac:picMkLst>
        </pc:picChg>
        <pc:picChg chg="add del mod ord">
          <ac:chgData name="Zhu Arena, GFTIOV, BCOM" userId="a49f412c-db83-45d3-9142-dc597ff7d65b" providerId="ADAL" clId="{46FD2C16-79FF-4FFE-BCE3-742826F5B8DC}" dt="2023-06-14T08:19:06.388" v="32" actId="21"/>
          <ac:picMkLst>
            <pc:docMk/>
            <pc:sldMk cId="3430926014" sldId="2147470799"/>
            <ac:picMk id="23" creationId="{55170FC9-A40D-DA6C-04B6-6AFE3BBD2A16}"/>
          </ac:picMkLst>
        </pc:picChg>
        <pc:picChg chg="add del mod ord">
          <ac:chgData name="Zhu Arena, GFTIOV, BCOM" userId="a49f412c-db83-45d3-9142-dc597ff7d65b" providerId="ADAL" clId="{46FD2C16-79FF-4FFE-BCE3-742826F5B8DC}" dt="2023-06-14T08:23:48.618" v="133" actId="478"/>
          <ac:picMkLst>
            <pc:docMk/>
            <pc:sldMk cId="3430926014" sldId="2147470799"/>
            <ac:picMk id="26" creationId="{C22E4B3A-6676-E8E3-4B39-ACE7B8E5212F}"/>
          </ac:picMkLst>
        </pc:picChg>
        <pc:picChg chg="add del mod">
          <ac:chgData name="Zhu Arena, GFTIOV, BCOM" userId="a49f412c-db83-45d3-9142-dc597ff7d65b" providerId="ADAL" clId="{46FD2C16-79FF-4FFE-BCE3-742826F5B8DC}" dt="2023-06-14T12:15:05.939" v="1478" actId="478"/>
          <ac:picMkLst>
            <pc:docMk/>
            <pc:sldMk cId="3430926014" sldId="2147470799"/>
            <ac:picMk id="33" creationId="{DDB12EA4-681C-CD2B-E077-65BA35EF3A70}"/>
          </ac:picMkLst>
        </pc:picChg>
        <pc:picChg chg="add mod">
          <ac:chgData name="Zhu Arena, GFTIOV, BCOM" userId="a49f412c-db83-45d3-9142-dc597ff7d65b" providerId="ADAL" clId="{46FD2C16-79FF-4FFE-BCE3-742826F5B8DC}" dt="2023-06-14T08:32:51.039" v="136"/>
          <ac:picMkLst>
            <pc:docMk/>
            <pc:sldMk cId="3430926014" sldId="2147470799"/>
            <ac:picMk id="34" creationId="{B9A18950-1888-BF2C-E419-80E4B0F26704}"/>
          </ac:picMkLst>
        </pc:picChg>
        <pc:picChg chg="add del">
          <ac:chgData name="Zhu Arena, GFTIOV, BCOM" userId="a49f412c-db83-45d3-9142-dc597ff7d65b" providerId="ADAL" clId="{46FD2C16-79FF-4FFE-BCE3-742826F5B8DC}" dt="2023-06-14T08:41:55.137" v="138" actId="21"/>
          <ac:picMkLst>
            <pc:docMk/>
            <pc:sldMk cId="3430926014" sldId="2147470799"/>
            <ac:picMk id="35" creationId="{FC4D8694-AD1E-A7AE-9BF4-F4A432DAF430}"/>
          </ac:picMkLst>
        </pc:picChg>
        <pc:picChg chg="add mod ord">
          <ac:chgData name="Zhu Arena, GFTIOV, BCOM" userId="a49f412c-db83-45d3-9142-dc597ff7d65b" providerId="ADAL" clId="{46FD2C16-79FF-4FFE-BCE3-742826F5B8DC}" dt="2023-06-14T08:42:02.118" v="140" actId="167"/>
          <ac:picMkLst>
            <pc:docMk/>
            <pc:sldMk cId="3430926014" sldId="2147470799"/>
            <ac:picMk id="36" creationId="{23F1F911-F8E0-7FA6-4ACE-6E776FE39FCE}"/>
          </ac:picMkLst>
        </pc:picChg>
        <pc:picChg chg="add del mod modCrop">
          <ac:chgData name="Zhu Arena, GFTIOV, BCOM" userId="a49f412c-db83-45d3-9142-dc597ff7d65b" providerId="ADAL" clId="{46FD2C16-79FF-4FFE-BCE3-742826F5B8DC}" dt="2023-06-14T08:43:23.169" v="143" actId="478"/>
          <ac:picMkLst>
            <pc:docMk/>
            <pc:sldMk cId="3430926014" sldId="2147470799"/>
            <ac:picMk id="37" creationId="{CA7E75DE-CACF-81BC-8047-325DBBD03570}"/>
          </ac:picMkLst>
        </pc:picChg>
        <pc:picChg chg="add del mod">
          <ac:chgData name="Zhu Arena, GFTIOV, BCOM" userId="a49f412c-db83-45d3-9142-dc597ff7d65b" providerId="ADAL" clId="{46FD2C16-79FF-4FFE-BCE3-742826F5B8DC}" dt="2023-06-14T08:46:05.258" v="145" actId="478"/>
          <ac:picMkLst>
            <pc:docMk/>
            <pc:sldMk cId="3430926014" sldId="2147470799"/>
            <ac:picMk id="38" creationId="{140CCE2C-21C4-C4A8-1F19-BE66684275A9}"/>
          </ac:picMkLst>
        </pc:picChg>
        <pc:picChg chg="add mod">
          <ac:chgData name="Zhu Arena, GFTIOV, BCOM" userId="a49f412c-db83-45d3-9142-dc597ff7d65b" providerId="ADAL" clId="{46FD2C16-79FF-4FFE-BCE3-742826F5B8DC}" dt="2023-06-14T08:46:40.758" v="148"/>
          <ac:picMkLst>
            <pc:docMk/>
            <pc:sldMk cId="3430926014" sldId="2147470799"/>
            <ac:picMk id="41" creationId="{5C61CBB2-6F3C-9FDE-9BF5-BF9FF9DB9FA6}"/>
          </ac:picMkLst>
        </pc:picChg>
        <pc:picChg chg="add mod">
          <ac:chgData name="Zhu Arena, GFTIOV, BCOM" userId="a49f412c-db83-45d3-9142-dc597ff7d65b" providerId="ADAL" clId="{46FD2C16-79FF-4FFE-BCE3-742826F5B8DC}" dt="2023-06-15T02:17:41.028" v="3041" actId="1076"/>
          <ac:picMkLst>
            <pc:docMk/>
            <pc:sldMk cId="3430926014" sldId="2147470799"/>
            <ac:picMk id="42" creationId="{098DF310-8352-8656-E23F-324982C25E14}"/>
          </ac:picMkLst>
        </pc:picChg>
        <pc:picChg chg="add del mod ord">
          <ac:chgData name="Zhu Arena, GFTIOV, BCOM" userId="a49f412c-db83-45d3-9142-dc597ff7d65b" providerId="ADAL" clId="{46FD2C16-79FF-4FFE-BCE3-742826F5B8DC}" dt="2023-06-14T13:32:32.974" v="2462" actId="478"/>
          <ac:picMkLst>
            <pc:docMk/>
            <pc:sldMk cId="3430926014" sldId="2147470799"/>
            <ac:picMk id="47" creationId="{DC5BFF79-973C-F0DB-8DA7-BE362A754244}"/>
          </ac:picMkLst>
        </pc:picChg>
        <pc:picChg chg="add mod ord">
          <ac:chgData name="Zhu Arena, GFTIOV, BCOM" userId="a49f412c-db83-45d3-9142-dc597ff7d65b" providerId="ADAL" clId="{46FD2C16-79FF-4FFE-BCE3-742826F5B8DC}" dt="2023-06-14T13:32:39.016" v="2464" actId="167"/>
          <ac:picMkLst>
            <pc:docMk/>
            <pc:sldMk cId="3430926014" sldId="2147470799"/>
            <ac:picMk id="50" creationId="{7AED9404-CE76-550E-3A32-BF3EA89725DA}"/>
          </ac:picMkLst>
        </pc:picChg>
        <pc:picChg chg="add mod">
          <ac:chgData name="Zhu Arena, GFTIOV, BCOM" userId="a49f412c-db83-45d3-9142-dc597ff7d65b" providerId="ADAL" clId="{46FD2C16-79FF-4FFE-BCE3-742826F5B8DC}" dt="2023-06-14T08:46:11.853" v="147" actId="167"/>
          <ac:picMkLst>
            <pc:docMk/>
            <pc:sldMk cId="3430926014" sldId="2147470799"/>
            <ac:picMk id="43010" creationId="{7D776316-07E1-1AD2-18B5-D3B3E2ED360D}"/>
          </ac:picMkLst>
        </pc:picChg>
        <pc:picChg chg="add mod">
          <ac:chgData name="Zhu Arena, GFTIOV, BCOM" userId="a49f412c-db83-45d3-9142-dc597ff7d65b" providerId="ADAL" clId="{46FD2C16-79FF-4FFE-BCE3-742826F5B8DC}" dt="2023-06-14T08:48:23.469" v="151" actId="167"/>
          <ac:picMkLst>
            <pc:docMk/>
            <pc:sldMk cId="3430926014" sldId="2147470799"/>
            <ac:picMk id="43012" creationId="{51EFD5AC-F20B-5564-BA19-6EC1AC9D312B}"/>
          </ac:picMkLst>
        </pc:picChg>
      </pc:sldChg>
      <pc:sldChg chg="add del ord">
        <pc:chgData name="Zhu Arena, GFTIOV, BCOM" userId="a49f412c-db83-45d3-9142-dc597ff7d65b" providerId="ADAL" clId="{46FD2C16-79FF-4FFE-BCE3-742826F5B8DC}" dt="2023-06-14T09:10:10.485" v="800" actId="47"/>
        <pc:sldMkLst>
          <pc:docMk/>
          <pc:sldMk cId="931819669" sldId="2147470800"/>
        </pc:sldMkLst>
      </pc:sldChg>
      <pc:sldChg chg="del">
        <pc:chgData name="Zhu Arena, GFTIOV, BCOM" userId="a49f412c-db83-45d3-9142-dc597ff7d65b" providerId="ADAL" clId="{46FD2C16-79FF-4FFE-BCE3-742826F5B8DC}" dt="2023-06-14T08:12:25.076" v="4" actId="47"/>
        <pc:sldMkLst>
          <pc:docMk/>
          <pc:sldMk cId="3318239684" sldId="2147470800"/>
        </pc:sldMkLst>
      </pc:sldChg>
      <pc:sldChg chg="delSp add del mod">
        <pc:chgData name="Zhu Arena, GFTIOV, BCOM" userId="a49f412c-db83-45d3-9142-dc597ff7d65b" providerId="ADAL" clId="{46FD2C16-79FF-4FFE-BCE3-742826F5B8DC}" dt="2023-06-14T09:09:32.744" v="797" actId="47"/>
        <pc:sldMkLst>
          <pc:docMk/>
          <pc:sldMk cId="1943583274" sldId="2147470801"/>
        </pc:sldMkLst>
        <pc:spChg chg="del">
          <ac:chgData name="Zhu Arena, GFTIOV, BCOM" userId="a49f412c-db83-45d3-9142-dc597ff7d65b" providerId="ADAL" clId="{46FD2C16-79FF-4FFE-BCE3-742826F5B8DC}" dt="2023-06-14T09:04:21.566" v="680" actId="21"/>
          <ac:spMkLst>
            <pc:docMk/>
            <pc:sldMk cId="1943583274" sldId="2147470801"/>
            <ac:spMk id="91" creationId="{357D0865-7ACB-4AAE-7BEF-318285837E6B}"/>
          </ac:spMkLst>
        </pc:spChg>
        <pc:spChg chg="del">
          <ac:chgData name="Zhu Arena, GFTIOV, BCOM" userId="a49f412c-db83-45d3-9142-dc597ff7d65b" providerId="ADAL" clId="{46FD2C16-79FF-4FFE-BCE3-742826F5B8DC}" dt="2023-06-14T09:04:21.566" v="680" actId="21"/>
          <ac:spMkLst>
            <pc:docMk/>
            <pc:sldMk cId="1943583274" sldId="2147470801"/>
            <ac:spMk id="94" creationId="{2588F25B-36D4-1C12-C2F8-EE80B9F19F9D}"/>
          </ac:spMkLst>
        </pc:spChg>
      </pc:sldChg>
      <pc:sldChg chg="addSp delSp modSp add del mod modClrScheme modShow chgLayout modNotesTx">
        <pc:chgData name="Zhu Arena, GFTIOV, BCOM" userId="a49f412c-db83-45d3-9142-dc597ff7d65b" providerId="ADAL" clId="{46FD2C16-79FF-4FFE-BCE3-742826F5B8DC}" dt="2023-06-14T12:39:27.142" v="1659" actId="47"/>
        <pc:sldMkLst>
          <pc:docMk/>
          <pc:sldMk cId="2263583950" sldId="2147470802"/>
        </pc:sldMkLst>
        <pc:spChg chg="add del mod ord">
          <ac:chgData name="Zhu Arena, GFTIOV, BCOM" userId="a49f412c-db83-45d3-9142-dc597ff7d65b" providerId="ADAL" clId="{46FD2C16-79FF-4FFE-BCE3-742826F5B8DC}" dt="2023-06-14T09:02:35.616" v="660" actId="700"/>
          <ac:spMkLst>
            <pc:docMk/>
            <pc:sldMk cId="2263583950" sldId="2147470802"/>
            <ac:spMk id="2" creationId="{4AB8D9CB-4E8C-03AF-FB10-6C1C8212D9E7}"/>
          </ac:spMkLst>
        </pc:spChg>
        <pc:spChg chg="mod ord">
          <ac:chgData name="Zhu Arena, GFTIOV, BCOM" userId="a49f412c-db83-45d3-9142-dc597ff7d65b" providerId="ADAL" clId="{46FD2C16-79FF-4FFE-BCE3-742826F5B8DC}" dt="2023-06-14T09:02:35.616" v="660" actId="700"/>
          <ac:spMkLst>
            <pc:docMk/>
            <pc:sldMk cId="2263583950" sldId="2147470802"/>
            <ac:spMk id="3" creationId="{8D026A10-0F1A-406E-AD93-84D36BE9F7D5}"/>
          </ac:spMkLst>
        </pc:spChg>
        <pc:spChg chg="add del mod ord">
          <ac:chgData name="Zhu Arena, GFTIOV, BCOM" userId="a49f412c-db83-45d3-9142-dc597ff7d65b" providerId="ADAL" clId="{46FD2C16-79FF-4FFE-BCE3-742826F5B8DC}" dt="2023-06-14T09:02:35.616" v="660" actId="700"/>
          <ac:spMkLst>
            <pc:docMk/>
            <pc:sldMk cId="2263583950" sldId="2147470802"/>
            <ac:spMk id="4" creationId="{90574E7A-4D2F-7D32-254B-23299E2CB676}"/>
          </ac:spMkLst>
        </pc:spChg>
        <pc:spChg chg="mod ord">
          <ac:chgData name="Zhu Arena, GFTIOV, BCOM" userId="a49f412c-db83-45d3-9142-dc597ff7d65b" providerId="ADAL" clId="{46FD2C16-79FF-4FFE-BCE3-742826F5B8DC}" dt="2023-06-14T09:02:35.616" v="660" actId="700"/>
          <ac:spMkLst>
            <pc:docMk/>
            <pc:sldMk cId="2263583950" sldId="2147470802"/>
            <ac:spMk id="5" creationId="{7C9A221C-BA19-F597-D461-77AD0BFE79DB}"/>
          </ac:spMkLst>
        </pc:spChg>
        <pc:spChg chg="del mod">
          <ac:chgData name="Zhu Arena, GFTIOV, BCOM" userId="a49f412c-db83-45d3-9142-dc597ff7d65b" providerId="ADAL" clId="{46FD2C16-79FF-4FFE-BCE3-742826F5B8DC}" dt="2023-06-14T09:03:59.971" v="675" actId="478"/>
          <ac:spMkLst>
            <pc:docMk/>
            <pc:sldMk cId="2263583950" sldId="2147470802"/>
            <ac:spMk id="9" creationId="{86DDBF00-EB91-99ED-4106-E5D9296CAAF0}"/>
          </ac:spMkLst>
        </pc:spChg>
        <pc:spChg chg="add del mod">
          <ac:chgData name="Zhu Arena, GFTIOV, BCOM" userId="a49f412c-db83-45d3-9142-dc597ff7d65b" providerId="ADAL" clId="{46FD2C16-79FF-4FFE-BCE3-742826F5B8DC}" dt="2023-06-14T09:20:43.066" v="1027" actId="478"/>
          <ac:spMkLst>
            <pc:docMk/>
            <pc:sldMk cId="2263583950" sldId="2147470802"/>
            <ac:spMk id="28" creationId="{91045444-8B0F-853C-2E86-2FF89E986C67}"/>
          </ac:spMkLst>
        </pc:spChg>
        <pc:spChg chg="add del mod">
          <ac:chgData name="Zhu Arena, GFTIOV, BCOM" userId="a49f412c-db83-45d3-9142-dc597ff7d65b" providerId="ADAL" clId="{46FD2C16-79FF-4FFE-BCE3-742826F5B8DC}" dt="2023-06-14T09:20:43.066" v="1027" actId="478"/>
          <ac:spMkLst>
            <pc:docMk/>
            <pc:sldMk cId="2263583950" sldId="2147470802"/>
            <ac:spMk id="29" creationId="{B7D63DD0-036E-9642-D1B5-4686950CACBB}"/>
          </ac:spMkLst>
        </pc:spChg>
        <pc:spChg chg="add del mod">
          <ac:chgData name="Zhu Arena, GFTIOV, BCOM" userId="a49f412c-db83-45d3-9142-dc597ff7d65b" providerId="ADAL" clId="{46FD2C16-79FF-4FFE-BCE3-742826F5B8DC}" dt="2023-06-14T09:20:43.066" v="1027" actId="478"/>
          <ac:spMkLst>
            <pc:docMk/>
            <pc:sldMk cId="2263583950" sldId="2147470802"/>
            <ac:spMk id="30" creationId="{D32EB6FF-ABAA-9F4F-9045-C59D24B13B95}"/>
          </ac:spMkLst>
        </pc:spChg>
        <pc:spChg chg="add del mod">
          <ac:chgData name="Zhu Arena, GFTIOV, BCOM" userId="a49f412c-db83-45d3-9142-dc597ff7d65b" providerId="ADAL" clId="{46FD2C16-79FF-4FFE-BCE3-742826F5B8DC}" dt="2023-06-14T09:20:43.066" v="1027" actId="478"/>
          <ac:spMkLst>
            <pc:docMk/>
            <pc:sldMk cId="2263583950" sldId="2147470802"/>
            <ac:spMk id="31" creationId="{03D7552A-AED4-8DA5-397D-76836C1279E6}"/>
          </ac:spMkLst>
        </pc:spChg>
        <pc:spChg chg="add del mod">
          <ac:chgData name="Zhu Arena, GFTIOV, BCOM" userId="a49f412c-db83-45d3-9142-dc597ff7d65b" providerId="ADAL" clId="{46FD2C16-79FF-4FFE-BCE3-742826F5B8DC}" dt="2023-06-14T09:20:43.066" v="1027" actId="478"/>
          <ac:spMkLst>
            <pc:docMk/>
            <pc:sldMk cId="2263583950" sldId="2147470802"/>
            <ac:spMk id="64" creationId="{73306B82-BEAC-6BF7-3C62-0527A368D644}"/>
          </ac:spMkLst>
        </pc:spChg>
        <pc:spChg chg="add del mod">
          <ac:chgData name="Zhu Arena, GFTIOV, BCOM" userId="a49f412c-db83-45d3-9142-dc597ff7d65b" providerId="ADAL" clId="{46FD2C16-79FF-4FFE-BCE3-742826F5B8DC}" dt="2023-06-14T09:20:34.629" v="1022" actId="478"/>
          <ac:spMkLst>
            <pc:docMk/>
            <pc:sldMk cId="2263583950" sldId="2147470802"/>
            <ac:spMk id="65" creationId="{7A2A9666-E551-CE80-C015-FE8EFB6F244F}"/>
          </ac:spMkLst>
        </pc:spChg>
        <pc:spChg chg="add del mod ord">
          <ac:chgData name="Zhu Arena, GFTIOV, BCOM" userId="a49f412c-db83-45d3-9142-dc597ff7d65b" providerId="ADAL" clId="{46FD2C16-79FF-4FFE-BCE3-742826F5B8DC}" dt="2023-06-14T09:20:40.508" v="1026" actId="478"/>
          <ac:spMkLst>
            <pc:docMk/>
            <pc:sldMk cId="2263583950" sldId="2147470802"/>
            <ac:spMk id="66" creationId="{EDC0D149-3F78-766C-0A91-85D41AEAE6E2}"/>
          </ac:spMkLst>
        </pc:spChg>
        <pc:spChg chg="del">
          <ac:chgData name="Zhu Arena, GFTIOV, BCOM" userId="a49f412c-db83-45d3-9142-dc597ff7d65b" providerId="ADAL" clId="{46FD2C16-79FF-4FFE-BCE3-742826F5B8DC}" dt="2023-06-14T09:02:09.030" v="655" actId="478"/>
          <ac:spMkLst>
            <pc:docMk/>
            <pc:sldMk cId="2263583950" sldId="2147470802"/>
            <ac:spMk id="91" creationId="{357D0865-7ACB-4AAE-7BEF-318285837E6B}"/>
          </ac:spMkLst>
        </pc:spChg>
        <pc:spChg chg="del mod">
          <ac:chgData name="Zhu Arena, GFTIOV, BCOM" userId="a49f412c-db83-45d3-9142-dc597ff7d65b" providerId="ADAL" clId="{46FD2C16-79FF-4FFE-BCE3-742826F5B8DC}" dt="2023-06-14T09:03:00.651" v="667" actId="478"/>
          <ac:spMkLst>
            <pc:docMk/>
            <pc:sldMk cId="2263583950" sldId="2147470802"/>
            <ac:spMk id="94" creationId="{2588F25B-36D4-1C12-C2F8-EE80B9F19F9D}"/>
          </ac:spMkLst>
        </pc:spChg>
        <pc:spChg chg="del mod">
          <ac:chgData name="Zhu Arena, GFTIOV, BCOM" userId="a49f412c-db83-45d3-9142-dc597ff7d65b" providerId="ADAL" clId="{46FD2C16-79FF-4FFE-BCE3-742826F5B8DC}" dt="2023-06-14T09:20:37.625" v="1024" actId="478"/>
          <ac:spMkLst>
            <pc:docMk/>
            <pc:sldMk cId="2263583950" sldId="2147470802"/>
            <ac:spMk id="95" creationId="{45180C6E-9291-DA0A-A02E-4968AF8809DB}"/>
          </ac:spMkLst>
        </pc:spChg>
        <pc:spChg chg="del mod">
          <ac:chgData name="Zhu Arena, GFTIOV, BCOM" userId="a49f412c-db83-45d3-9142-dc597ff7d65b" providerId="ADAL" clId="{46FD2C16-79FF-4FFE-BCE3-742826F5B8DC}" dt="2023-06-14T09:20:32.360" v="1021" actId="478"/>
          <ac:spMkLst>
            <pc:docMk/>
            <pc:sldMk cId="2263583950" sldId="2147470802"/>
            <ac:spMk id="96" creationId="{6946494A-72B7-EA83-7054-C52A0FF85B8D}"/>
          </ac:spMkLst>
        </pc:spChg>
        <pc:spChg chg="del mod">
          <ac:chgData name="Zhu Arena, GFTIOV, BCOM" userId="a49f412c-db83-45d3-9142-dc597ff7d65b" providerId="ADAL" clId="{46FD2C16-79FF-4FFE-BCE3-742826F5B8DC}" dt="2023-06-14T09:20:35.533" v="1023" actId="478"/>
          <ac:spMkLst>
            <pc:docMk/>
            <pc:sldMk cId="2263583950" sldId="2147470802"/>
            <ac:spMk id="97" creationId="{BAC47595-97A9-33D0-ACE5-90E89A3B51F1}"/>
          </ac:spMkLst>
        </pc:spChg>
        <pc:spChg chg="del mod">
          <ac:chgData name="Zhu Arena, GFTIOV, BCOM" userId="a49f412c-db83-45d3-9142-dc597ff7d65b" providerId="ADAL" clId="{46FD2C16-79FF-4FFE-BCE3-742826F5B8DC}" dt="2023-06-14T09:20:38.453" v="1025" actId="478"/>
          <ac:spMkLst>
            <pc:docMk/>
            <pc:sldMk cId="2263583950" sldId="2147470802"/>
            <ac:spMk id="98" creationId="{EA556C5E-77C4-1652-DC09-FB06E7C27AB9}"/>
          </ac:spMkLst>
        </pc:spChg>
        <pc:spChg chg="del">
          <ac:chgData name="Zhu Arena, GFTIOV, BCOM" userId="a49f412c-db83-45d3-9142-dc597ff7d65b" providerId="ADAL" clId="{46FD2C16-79FF-4FFE-BCE3-742826F5B8DC}" dt="2023-06-14T09:02:07.513" v="654" actId="478"/>
          <ac:spMkLst>
            <pc:docMk/>
            <pc:sldMk cId="2263583950" sldId="2147470802"/>
            <ac:spMk id="99" creationId="{AC8C3E47-7964-03FB-09E3-B93CFB3C6053}"/>
          </ac:spMkLst>
        </pc:spChg>
        <pc:spChg chg="del">
          <ac:chgData name="Zhu Arena, GFTIOV, BCOM" userId="a49f412c-db83-45d3-9142-dc597ff7d65b" providerId="ADAL" clId="{46FD2C16-79FF-4FFE-BCE3-742826F5B8DC}" dt="2023-06-14T09:02:04.202" v="650" actId="478"/>
          <ac:spMkLst>
            <pc:docMk/>
            <pc:sldMk cId="2263583950" sldId="2147470802"/>
            <ac:spMk id="100" creationId="{BBA4F6C4-6095-B3B5-6C7F-230438B8507E}"/>
          </ac:spMkLst>
        </pc:spChg>
        <pc:spChg chg="del">
          <ac:chgData name="Zhu Arena, GFTIOV, BCOM" userId="a49f412c-db83-45d3-9142-dc597ff7d65b" providerId="ADAL" clId="{46FD2C16-79FF-4FFE-BCE3-742826F5B8DC}" dt="2023-06-14T09:02:05.738" v="652" actId="478"/>
          <ac:spMkLst>
            <pc:docMk/>
            <pc:sldMk cId="2263583950" sldId="2147470802"/>
            <ac:spMk id="101" creationId="{8AD7C20A-04F5-BB89-C9AC-9DCDC58F9E6E}"/>
          </ac:spMkLst>
        </pc:spChg>
        <pc:spChg chg="del">
          <ac:chgData name="Zhu Arena, GFTIOV, BCOM" userId="a49f412c-db83-45d3-9142-dc597ff7d65b" providerId="ADAL" clId="{46FD2C16-79FF-4FFE-BCE3-742826F5B8DC}" dt="2023-06-14T09:02:06.388" v="653" actId="478"/>
          <ac:spMkLst>
            <pc:docMk/>
            <pc:sldMk cId="2263583950" sldId="2147470802"/>
            <ac:spMk id="102" creationId="{A47281C3-E83E-1F5B-7F2F-DB040A20CC50}"/>
          </ac:spMkLst>
        </pc:spChg>
        <pc:spChg chg="del">
          <ac:chgData name="Zhu Arena, GFTIOV, BCOM" userId="a49f412c-db83-45d3-9142-dc597ff7d65b" providerId="ADAL" clId="{46FD2C16-79FF-4FFE-BCE3-742826F5B8DC}" dt="2023-06-14T09:02:04.917" v="651" actId="478"/>
          <ac:spMkLst>
            <pc:docMk/>
            <pc:sldMk cId="2263583950" sldId="2147470802"/>
            <ac:spMk id="103" creationId="{ABD08185-2830-2355-B28C-FACFBD49C361}"/>
          </ac:spMkLst>
        </pc:spChg>
        <pc:grpChg chg="add mod">
          <ac:chgData name="Zhu Arena, GFTIOV, BCOM" userId="a49f412c-db83-45d3-9142-dc597ff7d65b" providerId="ADAL" clId="{46FD2C16-79FF-4FFE-BCE3-742826F5B8DC}" dt="2023-06-14T09:20:51.334" v="1029" actId="14100"/>
          <ac:grpSpMkLst>
            <pc:docMk/>
            <pc:sldMk cId="2263583950" sldId="2147470802"/>
            <ac:grpSpMk id="7" creationId="{3768991F-E165-2F34-AFB6-7753E21A97C4}"/>
          </ac:grpSpMkLst>
        </pc:grpChg>
        <pc:grpChg chg="del">
          <ac:chgData name="Zhu Arena, GFTIOV, BCOM" userId="a49f412c-db83-45d3-9142-dc597ff7d65b" providerId="ADAL" clId="{46FD2C16-79FF-4FFE-BCE3-742826F5B8DC}" dt="2023-06-14T09:02:24.217" v="657" actId="21"/>
          <ac:grpSpMkLst>
            <pc:docMk/>
            <pc:sldMk cId="2263583950" sldId="2147470802"/>
            <ac:grpSpMk id="20" creationId="{BD8E3462-B270-04E2-EEE7-FA7E75162295}"/>
          </ac:grpSpMkLst>
        </pc:grpChg>
        <pc:picChg chg="add del mod">
          <ac:chgData name="Zhu Arena, GFTIOV, BCOM" userId="a49f412c-db83-45d3-9142-dc597ff7d65b" providerId="ADAL" clId="{46FD2C16-79FF-4FFE-BCE3-742826F5B8DC}" dt="2023-06-14T09:02:32.507" v="659"/>
          <ac:picMkLst>
            <pc:docMk/>
            <pc:sldMk cId="2263583950" sldId="2147470802"/>
            <ac:picMk id="6" creationId="{2B3DACD3-1DB6-8F9B-0AE9-C8F1FBE233B8}"/>
          </ac:picMkLst>
        </pc:picChg>
        <pc:picChg chg="mod">
          <ac:chgData name="Zhu Arena, GFTIOV, BCOM" userId="a49f412c-db83-45d3-9142-dc597ff7d65b" providerId="ADAL" clId="{46FD2C16-79FF-4FFE-BCE3-742826F5B8DC}" dt="2023-06-14T09:02:38.116" v="661"/>
          <ac:picMkLst>
            <pc:docMk/>
            <pc:sldMk cId="2263583950" sldId="2147470802"/>
            <ac:picMk id="8" creationId="{C1BC6CD4-3A6B-A737-FBBF-61D40395CD20}"/>
          </ac:picMkLst>
        </pc:picChg>
        <pc:picChg chg="mod">
          <ac:chgData name="Zhu Arena, GFTIOV, BCOM" userId="a49f412c-db83-45d3-9142-dc597ff7d65b" providerId="ADAL" clId="{46FD2C16-79FF-4FFE-BCE3-742826F5B8DC}" dt="2023-06-14T09:02:38.116" v="661"/>
          <ac:picMkLst>
            <pc:docMk/>
            <pc:sldMk cId="2263583950" sldId="2147470802"/>
            <ac:picMk id="10" creationId="{AF01025B-7F91-9E55-F360-E2A35E0A8B35}"/>
          </ac:picMkLst>
        </pc:picChg>
        <pc:picChg chg="mod">
          <ac:chgData name="Zhu Arena, GFTIOV, BCOM" userId="a49f412c-db83-45d3-9142-dc597ff7d65b" providerId="ADAL" clId="{46FD2C16-79FF-4FFE-BCE3-742826F5B8DC}" dt="2023-06-14T09:02:38.116" v="661"/>
          <ac:picMkLst>
            <pc:docMk/>
            <pc:sldMk cId="2263583950" sldId="2147470802"/>
            <ac:picMk id="21" creationId="{E8D0C198-80EE-5EAF-FB37-EF9902B16F67}"/>
          </ac:picMkLst>
        </pc:picChg>
        <pc:picChg chg="mod">
          <ac:chgData name="Zhu Arena, GFTIOV, BCOM" userId="a49f412c-db83-45d3-9142-dc597ff7d65b" providerId="ADAL" clId="{46FD2C16-79FF-4FFE-BCE3-742826F5B8DC}" dt="2023-06-14T09:02:38.116" v="661"/>
          <ac:picMkLst>
            <pc:docMk/>
            <pc:sldMk cId="2263583950" sldId="2147470802"/>
            <ac:picMk id="22" creationId="{B9573C0C-4BE6-9A59-3F7C-B179E34D1B59}"/>
          </ac:picMkLst>
        </pc:picChg>
        <pc:picChg chg="mod">
          <ac:chgData name="Zhu Arena, GFTIOV, BCOM" userId="a49f412c-db83-45d3-9142-dc597ff7d65b" providerId="ADAL" clId="{46FD2C16-79FF-4FFE-BCE3-742826F5B8DC}" dt="2023-06-14T09:02:38.116" v="661"/>
          <ac:picMkLst>
            <pc:docMk/>
            <pc:sldMk cId="2263583950" sldId="2147470802"/>
            <ac:picMk id="23" creationId="{0B676296-B048-4075-552B-AAB1EE5B2896}"/>
          </ac:picMkLst>
        </pc:picChg>
        <pc:picChg chg="mod">
          <ac:chgData name="Zhu Arena, GFTIOV, BCOM" userId="a49f412c-db83-45d3-9142-dc597ff7d65b" providerId="ADAL" clId="{46FD2C16-79FF-4FFE-BCE3-742826F5B8DC}" dt="2023-06-14T09:02:38.116" v="661"/>
          <ac:picMkLst>
            <pc:docMk/>
            <pc:sldMk cId="2263583950" sldId="2147470802"/>
            <ac:picMk id="24" creationId="{7C5E389B-7C24-7FD3-01D9-BA47590F077F}"/>
          </ac:picMkLst>
        </pc:picChg>
        <pc:picChg chg="mod">
          <ac:chgData name="Zhu Arena, GFTIOV, BCOM" userId="a49f412c-db83-45d3-9142-dc597ff7d65b" providerId="ADAL" clId="{46FD2C16-79FF-4FFE-BCE3-742826F5B8DC}" dt="2023-06-14T09:02:38.116" v="661"/>
          <ac:picMkLst>
            <pc:docMk/>
            <pc:sldMk cId="2263583950" sldId="2147470802"/>
            <ac:picMk id="25" creationId="{E6F6D85C-9C4C-4A33-EF1D-F4D9F1DDF2E6}"/>
          </ac:picMkLst>
        </pc:picChg>
        <pc:picChg chg="mod">
          <ac:chgData name="Zhu Arena, GFTIOV, BCOM" userId="a49f412c-db83-45d3-9142-dc597ff7d65b" providerId="ADAL" clId="{46FD2C16-79FF-4FFE-BCE3-742826F5B8DC}" dt="2023-06-14T09:02:38.116" v="661"/>
          <ac:picMkLst>
            <pc:docMk/>
            <pc:sldMk cId="2263583950" sldId="2147470802"/>
            <ac:picMk id="26" creationId="{E694DFBB-A1B7-2228-27B1-75737E04F60C}"/>
          </ac:picMkLst>
        </pc:picChg>
        <pc:picChg chg="mod">
          <ac:chgData name="Zhu Arena, GFTIOV, BCOM" userId="a49f412c-db83-45d3-9142-dc597ff7d65b" providerId="ADAL" clId="{46FD2C16-79FF-4FFE-BCE3-742826F5B8DC}" dt="2023-06-14T09:02:38.116" v="661"/>
          <ac:picMkLst>
            <pc:docMk/>
            <pc:sldMk cId="2263583950" sldId="2147470802"/>
            <ac:picMk id="27" creationId="{D31135A7-4FA4-350B-A5D9-3C1824339725}"/>
          </ac:picMkLst>
        </pc:picChg>
        <pc:picChg chg="del">
          <ac:chgData name="Zhu Arena, GFTIOV, BCOM" userId="a49f412c-db83-45d3-9142-dc597ff7d65b" providerId="ADAL" clId="{46FD2C16-79FF-4FFE-BCE3-742826F5B8DC}" dt="2023-06-14T09:02:52.892" v="665" actId="478"/>
          <ac:picMkLst>
            <pc:docMk/>
            <pc:sldMk cId="2263583950" sldId="2147470802"/>
            <ac:picMk id="93" creationId="{F9796275-2CCE-8688-F472-CFFB844452AB}"/>
          </ac:picMkLst>
        </pc:picChg>
      </pc:sldChg>
      <pc:sldChg chg="addSp delSp modSp add del mod ord modShow modNotesTx">
        <pc:chgData name="Zhu Arena, GFTIOV, BCOM" userId="a49f412c-db83-45d3-9142-dc597ff7d65b" providerId="ADAL" clId="{46FD2C16-79FF-4FFE-BCE3-742826F5B8DC}" dt="2023-06-15T10:04:21.911" v="5847" actId="47"/>
        <pc:sldMkLst>
          <pc:docMk/>
          <pc:sldMk cId="2291362489" sldId="2147470803"/>
        </pc:sldMkLst>
        <pc:spChg chg="mod">
          <ac:chgData name="Zhu Arena, GFTIOV, BCOM" userId="a49f412c-db83-45d3-9142-dc597ff7d65b" providerId="ADAL" clId="{46FD2C16-79FF-4FFE-BCE3-742826F5B8DC}" dt="2023-06-15T08:00:17.229" v="4964" actId="790"/>
          <ac:spMkLst>
            <pc:docMk/>
            <pc:sldMk cId="2291362489" sldId="2147470803"/>
            <ac:spMk id="2" creationId="{918CB9FB-A912-DCB3-BE67-C6A1A87A92E5}"/>
          </ac:spMkLst>
        </pc:spChg>
        <pc:spChg chg="mod">
          <ac:chgData name="Zhu Arena, GFTIOV, BCOM" userId="a49f412c-db83-45d3-9142-dc597ff7d65b" providerId="ADAL" clId="{46FD2C16-79FF-4FFE-BCE3-742826F5B8DC}" dt="2023-06-15T08:00:17.229" v="4965" actId="790"/>
          <ac:spMkLst>
            <pc:docMk/>
            <pc:sldMk cId="2291362489" sldId="2147470803"/>
            <ac:spMk id="3" creationId="{D5AA98B2-907F-B168-A591-F840460B1F35}"/>
          </ac:spMkLst>
        </pc:spChg>
        <pc:spChg chg="add del mod">
          <ac:chgData name="Zhu Arena, GFTIOV, BCOM" userId="a49f412c-db83-45d3-9142-dc597ff7d65b" providerId="ADAL" clId="{46FD2C16-79FF-4FFE-BCE3-742826F5B8DC}" dt="2023-06-14T12:02:43.117" v="1388" actId="478"/>
          <ac:spMkLst>
            <pc:docMk/>
            <pc:sldMk cId="2291362489" sldId="2147470803"/>
            <ac:spMk id="5" creationId="{902DFFFB-AF44-4FC0-15EC-2F86326E5456}"/>
          </ac:spMkLst>
        </pc:spChg>
        <pc:spChg chg="add mod">
          <ac:chgData name="Zhu Arena, GFTIOV, BCOM" userId="a49f412c-db83-45d3-9142-dc597ff7d65b" providerId="ADAL" clId="{46FD2C16-79FF-4FFE-BCE3-742826F5B8DC}" dt="2023-06-15T08:00:17.229" v="4968" actId="790"/>
          <ac:spMkLst>
            <pc:docMk/>
            <pc:sldMk cId="2291362489" sldId="2147470803"/>
            <ac:spMk id="11" creationId="{60EC8356-91F6-D9EA-F36B-2C136102879E}"/>
          </ac:spMkLst>
        </pc:spChg>
        <pc:spChg chg="add mod">
          <ac:chgData name="Zhu Arena, GFTIOV, BCOM" userId="a49f412c-db83-45d3-9142-dc597ff7d65b" providerId="ADAL" clId="{46FD2C16-79FF-4FFE-BCE3-742826F5B8DC}" dt="2023-06-15T08:00:17.229" v="4969" actId="790"/>
          <ac:spMkLst>
            <pc:docMk/>
            <pc:sldMk cId="2291362489" sldId="2147470803"/>
            <ac:spMk id="12" creationId="{6C4DD099-8C53-0118-076E-29336E420C37}"/>
          </ac:spMkLst>
        </pc:spChg>
        <pc:spChg chg="add mod">
          <ac:chgData name="Zhu Arena, GFTIOV, BCOM" userId="a49f412c-db83-45d3-9142-dc597ff7d65b" providerId="ADAL" clId="{46FD2C16-79FF-4FFE-BCE3-742826F5B8DC}" dt="2023-06-15T08:00:17.229" v="4970" actId="790"/>
          <ac:spMkLst>
            <pc:docMk/>
            <pc:sldMk cId="2291362489" sldId="2147470803"/>
            <ac:spMk id="13" creationId="{3E573E04-59AA-A9FB-9926-3C18BFEE6C25}"/>
          </ac:spMkLst>
        </pc:spChg>
        <pc:spChg chg="add mod">
          <ac:chgData name="Zhu Arena, GFTIOV, BCOM" userId="a49f412c-db83-45d3-9142-dc597ff7d65b" providerId="ADAL" clId="{46FD2C16-79FF-4FFE-BCE3-742826F5B8DC}" dt="2023-06-15T08:00:17.229" v="4971" actId="790"/>
          <ac:spMkLst>
            <pc:docMk/>
            <pc:sldMk cId="2291362489" sldId="2147470803"/>
            <ac:spMk id="14" creationId="{411EB006-DA20-F7E7-C018-81FCAD7B9987}"/>
          </ac:spMkLst>
        </pc:spChg>
        <pc:spChg chg="add del mod">
          <ac:chgData name="Zhu Arena, GFTIOV, BCOM" userId="a49f412c-db83-45d3-9142-dc597ff7d65b" providerId="ADAL" clId="{46FD2C16-79FF-4FFE-BCE3-742826F5B8DC}" dt="2023-06-15T08:00:17.237" v="4972" actId="790"/>
          <ac:spMkLst>
            <pc:docMk/>
            <pc:sldMk cId="2291362489" sldId="2147470803"/>
            <ac:spMk id="15" creationId="{C7782714-A87D-3343-B173-D6FCE86CCDFE}"/>
          </ac:spMkLst>
        </pc:spChg>
        <pc:spChg chg="add mod">
          <ac:chgData name="Zhu Arena, GFTIOV, BCOM" userId="a49f412c-db83-45d3-9142-dc597ff7d65b" providerId="ADAL" clId="{46FD2C16-79FF-4FFE-BCE3-742826F5B8DC}" dt="2023-06-15T08:00:17.237" v="4973" actId="790"/>
          <ac:spMkLst>
            <pc:docMk/>
            <pc:sldMk cId="2291362489" sldId="2147470803"/>
            <ac:spMk id="16" creationId="{4FBEB030-F301-78AA-8CB1-006BAF0D6143}"/>
          </ac:spMkLst>
        </pc:spChg>
        <pc:spChg chg="add mod">
          <ac:chgData name="Zhu Arena, GFTIOV, BCOM" userId="a49f412c-db83-45d3-9142-dc597ff7d65b" providerId="ADAL" clId="{46FD2C16-79FF-4FFE-BCE3-742826F5B8DC}" dt="2023-06-15T08:00:17.237" v="4977" actId="790"/>
          <ac:spMkLst>
            <pc:docMk/>
            <pc:sldMk cId="2291362489" sldId="2147470803"/>
            <ac:spMk id="22" creationId="{A43A8922-B84E-7141-9CD8-7A38A2311920}"/>
          </ac:spMkLst>
        </pc:spChg>
        <pc:spChg chg="add mod">
          <ac:chgData name="Zhu Arena, GFTIOV, BCOM" userId="a49f412c-db83-45d3-9142-dc597ff7d65b" providerId="ADAL" clId="{46FD2C16-79FF-4FFE-BCE3-742826F5B8DC}" dt="2023-06-15T08:00:17.237" v="4978" actId="790"/>
          <ac:spMkLst>
            <pc:docMk/>
            <pc:sldMk cId="2291362489" sldId="2147470803"/>
            <ac:spMk id="23" creationId="{1785C0A6-A69D-7C44-FBE5-A973208DA410}"/>
          </ac:spMkLst>
        </pc:spChg>
        <pc:spChg chg="add del mod">
          <ac:chgData name="Zhu Arena, GFTIOV, BCOM" userId="a49f412c-db83-45d3-9142-dc597ff7d65b" providerId="ADAL" clId="{46FD2C16-79FF-4FFE-BCE3-742826F5B8DC}" dt="2023-06-14T12:03:50.527" v="1396" actId="478"/>
          <ac:spMkLst>
            <pc:docMk/>
            <pc:sldMk cId="2291362489" sldId="2147470803"/>
            <ac:spMk id="25" creationId="{2FC72D13-ED7F-237B-24BB-992EF13E3F49}"/>
          </ac:spMkLst>
        </pc:spChg>
        <pc:spChg chg="add mod">
          <ac:chgData name="Zhu Arena, GFTIOV, BCOM" userId="a49f412c-db83-45d3-9142-dc597ff7d65b" providerId="ADAL" clId="{46FD2C16-79FF-4FFE-BCE3-742826F5B8DC}" dt="2023-06-15T08:00:17.237" v="4979" actId="790"/>
          <ac:spMkLst>
            <pc:docMk/>
            <pc:sldMk cId="2291362489" sldId="2147470803"/>
            <ac:spMk id="27" creationId="{5B1CD3F0-B827-1137-9A28-EB00164791E9}"/>
          </ac:spMkLst>
        </pc:spChg>
        <pc:spChg chg="mod">
          <ac:chgData name="Zhu Arena, GFTIOV, BCOM" userId="a49f412c-db83-45d3-9142-dc597ff7d65b" providerId="ADAL" clId="{46FD2C16-79FF-4FFE-BCE3-742826F5B8DC}" dt="2023-06-15T08:00:17.237" v="4980" actId="790"/>
          <ac:spMkLst>
            <pc:docMk/>
            <pc:sldMk cId="2291362489" sldId="2147470803"/>
            <ac:spMk id="30" creationId="{D0A0CFCC-727A-2ECA-062C-E68C2AFEB8CA}"/>
          </ac:spMkLst>
        </pc:spChg>
        <pc:spChg chg="add mod">
          <ac:chgData name="Zhu Arena, GFTIOV, BCOM" userId="a49f412c-db83-45d3-9142-dc597ff7d65b" providerId="ADAL" clId="{46FD2C16-79FF-4FFE-BCE3-742826F5B8DC}" dt="2023-06-15T08:00:17.237" v="4981" actId="790"/>
          <ac:spMkLst>
            <pc:docMk/>
            <pc:sldMk cId="2291362489" sldId="2147470803"/>
            <ac:spMk id="31" creationId="{45102D6B-3C97-38BB-B5F5-A8BAE802D8EA}"/>
          </ac:spMkLst>
        </pc:spChg>
        <pc:spChg chg="mod">
          <ac:chgData name="Zhu Arena, GFTIOV, BCOM" userId="a49f412c-db83-45d3-9142-dc597ff7d65b" providerId="ADAL" clId="{46FD2C16-79FF-4FFE-BCE3-742826F5B8DC}" dt="2023-06-15T08:00:17.237" v="4982" actId="790"/>
          <ac:spMkLst>
            <pc:docMk/>
            <pc:sldMk cId="2291362489" sldId="2147470803"/>
            <ac:spMk id="34" creationId="{5A1F1D0E-E1E8-45C5-CB19-EF975B467403}"/>
          </ac:spMkLst>
        </pc:spChg>
        <pc:spChg chg="add mod">
          <ac:chgData name="Zhu Arena, GFTIOV, BCOM" userId="a49f412c-db83-45d3-9142-dc597ff7d65b" providerId="ADAL" clId="{46FD2C16-79FF-4FFE-BCE3-742826F5B8DC}" dt="2023-06-15T08:00:17.237" v="4983" actId="790"/>
          <ac:spMkLst>
            <pc:docMk/>
            <pc:sldMk cId="2291362489" sldId="2147470803"/>
            <ac:spMk id="35" creationId="{AC918B24-1DFE-11AB-99EE-20B66428845E}"/>
          </ac:spMkLst>
        </pc:spChg>
        <pc:spChg chg="add mod">
          <ac:chgData name="Zhu Arena, GFTIOV, BCOM" userId="a49f412c-db83-45d3-9142-dc597ff7d65b" providerId="ADAL" clId="{46FD2C16-79FF-4FFE-BCE3-742826F5B8DC}" dt="2023-06-15T08:00:17.237" v="4984" actId="790"/>
          <ac:spMkLst>
            <pc:docMk/>
            <pc:sldMk cId="2291362489" sldId="2147470803"/>
            <ac:spMk id="37" creationId="{A6993782-41FE-8D66-EFA0-84A958060356}"/>
          </ac:spMkLst>
        </pc:spChg>
        <pc:spChg chg="mod">
          <ac:chgData name="Zhu Arena, GFTIOV, BCOM" userId="a49f412c-db83-45d3-9142-dc597ff7d65b" providerId="ADAL" clId="{46FD2C16-79FF-4FFE-BCE3-742826F5B8DC}" dt="2023-06-15T08:00:17.237" v="4985" actId="790"/>
          <ac:spMkLst>
            <pc:docMk/>
            <pc:sldMk cId="2291362489" sldId="2147470803"/>
            <ac:spMk id="40" creationId="{A678856B-4935-2AB3-5F55-25B31F5E9762}"/>
          </ac:spMkLst>
        </pc:spChg>
        <pc:spChg chg="mod">
          <ac:chgData name="Zhu Arena, GFTIOV, BCOM" userId="a49f412c-db83-45d3-9142-dc597ff7d65b" providerId="ADAL" clId="{46FD2C16-79FF-4FFE-BCE3-742826F5B8DC}" dt="2023-06-15T08:00:17.237" v="4986" actId="790"/>
          <ac:spMkLst>
            <pc:docMk/>
            <pc:sldMk cId="2291362489" sldId="2147470803"/>
            <ac:spMk id="44" creationId="{574D78D8-F04F-E9F7-0D0D-CA9A7A955B5A}"/>
          </ac:spMkLst>
        </pc:spChg>
        <pc:spChg chg="mod">
          <ac:chgData name="Zhu Arena, GFTIOV, BCOM" userId="a49f412c-db83-45d3-9142-dc597ff7d65b" providerId="ADAL" clId="{46FD2C16-79FF-4FFE-BCE3-742826F5B8DC}" dt="2023-06-15T08:00:17.245" v="4987" actId="790"/>
          <ac:spMkLst>
            <pc:docMk/>
            <pc:sldMk cId="2291362489" sldId="2147470803"/>
            <ac:spMk id="47" creationId="{3FB76433-F6ED-C6E1-D53A-65271A603923}"/>
          </ac:spMkLst>
        </pc:spChg>
        <pc:spChg chg="add mod">
          <ac:chgData name="Zhu Arena, GFTIOV, BCOM" userId="a49f412c-db83-45d3-9142-dc597ff7d65b" providerId="ADAL" clId="{46FD2C16-79FF-4FFE-BCE3-742826F5B8DC}" dt="2023-06-15T08:00:17.245" v="4988" actId="790"/>
          <ac:spMkLst>
            <pc:docMk/>
            <pc:sldMk cId="2291362489" sldId="2147470803"/>
            <ac:spMk id="49" creationId="{3E2A9EB4-D008-46B9-FB45-84F37F118C17}"/>
          </ac:spMkLst>
        </pc:spChg>
        <pc:spChg chg="add mod">
          <ac:chgData name="Zhu Arena, GFTIOV, BCOM" userId="a49f412c-db83-45d3-9142-dc597ff7d65b" providerId="ADAL" clId="{46FD2C16-79FF-4FFE-BCE3-742826F5B8DC}" dt="2023-06-15T08:00:17.245" v="4989" actId="790"/>
          <ac:spMkLst>
            <pc:docMk/>
            <pc:sldMk cId="2291362489" sldId="2147470803"/>
            <ac:spMk id="51" creationId="{759C3BDD-D43D-0AA9-F0D1-3D8543DDB87F}"/>
          </ac:spMkLst>
        </pc:spChg>
        <pc:spChg chg="add mod">
          <ac:chgData name="Zhu Arena, GFTIOV, BCOM" userId="a49f412c-db83-45d3-9142-dc597ff7d65b" providerId="ADAL" clId="{46FD2C16-79FF-4FFE-BCE3-742826F5B8DC}" dt="2023-06-15T08:00:17.245" v="4990" actId="790"/>
          <ac:spMkLst>
            <pc:docMk/>
            <pc:sldMk cId="2291362489" sldId="2147470803"/>
            <ac:spMk id="52" creationId="{DB0A6A3D-BF16-C19B-27B8-18DF67D4A071}"/>
          </ac:spMkLst>
        </pc:spChg>
        <pc:spChg chg="add mod">
          <ac:chgData name="Zhu Arena, GFTIOV, BCOM" userId="a49f412c-db83-45d3-9142-dc597ff7d65b" providerId="ADAL" clId="{46FD2C16-79FF-4FFE-BCE3-742826F5B8DC}" dt="2023-06-15T08:00:17.245" v="4991" actId="790"/>
          <ac:spMkLst>
            <pc:docMk/>
            <pc:sldMk cId="2291362489" sldId="2147470803"/>
            <ac:spMk id="53" creationId="{98AED22F-F5DE-5C9F-2868-F3A0449B4A73}"/>
          </ac:spMkLst>
        </pc:spChg>
        <pc:spChg chg="mod">
          <ac:chgData name="Zhu Arena, GFTIOV, BCOM" userId="a49f412c-db83-45d3-9142-dc597ff7d65b" providerId="ADAL" clId="{46FD2C16-79FF-4FFE-BCE3-742826F5B8DC}" dt="2023-06-15T08:00:17.245" v="4992" actId="790"/>
          <ac:spMkLst>
            <pc:docMk/>
            <pc:sldMk cId="2291362489" sldId="2147470803"/>
            <ac:spMk id="55" creationId="{BB06098F-5701-7999-C306-5EBA3F1EC3AE}"/>
          </ac:spMkLst>
        </pc:spChg>
        <pc:spChg chg="mod">
          <ac:chgData name="Zhu Arena, GFTIOV, BCOM" userId="a49f412c-db83-45d3-9142-dc597ff7d65b" providerId="ADAL" clId="{46FD2C16-79FF-4FFE-BCE3-742826F5B8DC}" dt="2023-06-15T08:00:17.245" v="4993" actId="790"/>
          <ac:spMkLst>
            <pc:docMk/>
            <pc:sldMk cId="2291362489" sldId="2147470803"/>
            <ac:spMk id="56" creationId="{BF7E7793-0361-2BB4-B5C5-7905BC572637}"/>
          </ac:spMkLst>
        </pc:spChg>
        <pc:spChg chg="del">
          <ac:chgData name="Zhu Arena, GFTIOV, BCOM" userId="a49f412c-db83-45d3-9142-dc597ff7d65b" providerId="ADAL" clId="{46FD2C16-79FF-4FFE-BCE3-742826F5B8DC}" dt="2023-06-14T12:02:21.485" v="1385" actId="478"/>
          <ac:spMkLst>
            <pc:docMk/>
            <pc:sldMk cId="2291362489" sldId="2147470803"/>
            <ac:spMk id="60" creationId="{B99F1076-67C5-7F83-D0F0-82DC1A5A97DC}"/>
          </ac:spMkLst>
        </pc:spChg>
        <pc:spChg chg="add del mod">
          <ac:chgData name="Zhu Arena, GFTIOV, BCOM" userId="a49f412c-db83-45d3-9142-dc597ff7d65b" providerId="ADAL" clId="{46FD2C16-79FF-4FFE-BCE3-742826F5B8DC}" dt="2023-06-15T08:00:17.229" v="4966" actId="790"/>
          <ac:spMkLst>
            <pc:docMk/>
            <pc:sldMk cId="2291362489" sldId="2147470803"/>
            <ac:spMk id="62" creationId="{7C641265-E6E4-03BC-F6D3-070B187D05E8}"/>
          </ac:spMkLst>
        </pc:spChg>
        <pc:spChg chg="add del mod">
          <ac:chgData name="Zhu Arena, GFTIOV, BCOM" userId="a49f412c-db83-45d3-9142-dc597ff7d65b" providerId="ADAL" clId="{46FD2C16-79FF-4FFE-BCE3-742826F5B8DC}" dt="2023-06-14T12:07:13.236" v="1401"/>
          <ac:spMkLst>
            <pc:docMk/>
            <pc:sldMk cId="2291362489" sldId="2147470803"/>
            <ac:spMk id="64" creationId="{CAA24AA0-43D1-7038-F1A2-AD09DC6215B4}"/>
          </ac:spMkLst>
        </pc:spChg>
        <pc:spChg chg="add del mod">
          <ac:chgData name="Zhu Arena, GFTIOV, BCOM" userId="a49f412c-db83-45d3-9142-dc597ff7d65b" providerId="ADAL" clId="{46FD2C16-79FF-4FFE-BCE3-742826F5B8DC}" dt="2023-06-14T12:07:24.297" v="1403"/>
          <ac:spMkLst>
            <pc:docMk/>
            <pc:sldMk cId="2291362489" sldId="2147470803"/>
            <ac:spMk id="65" creationId="{CAD1E2F6-F309-C572-EBB5-52AD178C2EAC}"/>
          </ac:spMkLst>
        </pc:spChg>
        <pc:spChg chg="add mod">
          <ac:chgData name="Zhu Arena, GFTIOV, BCOM" userId="a49f412c-db83-45d3-9142-dc597ff7d65b" providerId="ADAL" clId="{46FD2C16-79FF-4FFE-BCE3-742826F5B8DC}" dt="2023-06-15T08:00:17.245" v="4994" actId="790"/>
          <ac:spMkLst>
            <pc:docMk/>
            <pc:sldMk cId="2291362489" sldId="2147470803"/>
            <ac:spMk id="66" creationId="{A25D7BF7-63BC-FA1C-A32D-77B400E20FCF}"/>
          </ac:spMkLst>
        </pc:spChg>
        <pc:spChg chg="add del mod">
          <ac:chgData name="Zhu Arena, GFTIOV, BCOM" userId="a49f412c-db83-45d3-9142-dc597ff7d65b" providerId="ADAL" clId="{46FD2C16-79FF-4FFE-BCE3-742826F5B8DC}" dt="2023-06-14T12:07:56.970" v="1406"/>
          <ac:spMkLst>
            <pc:docMk/>
            <pc:sldMk cId="2291362489" sldId="2147470803"/>
            <ac:spMk id="67" creationId="{3F816A23-85B8-898B-156D-90720C6AD621}"/>
          </ac:spMkLst>
        </pc:spChg>
        <pc:spChg chg="add mod">
          <ac:chgData name="Zhu Arena, GFTIOV, BCOM" userId="a49f412c-db83-45d3-9142-dc597ff7d65b" providerId="ADAL" clId="{46FD2C16-79FF-4FFE-BCE3-742826F5B8DC}" dt="2023-06-15T08:00:17.245" v="4995" actId="790"/>
          <ac:spMkLst>
            <pc:docMk/>
            <pc:sldMk cId="2291362489" sldId="2147470803"/>
            <ac:spMk id="68" creationId="{03C4372F-E3E8-2D63-8048-5A57A2FC7D41}"/>
          </ac:spMkLst>
        </pc:spChg>
        <pc:spChg chg="add mod">
          <ac:chgData name="Zhu Arena, GFTIOV, BCOM" userId="a49f412c-db83-45d3-9142-dc597ff7d65b" providerId="ADAL" clId="{46FD2C16-79FF-4FFE-BCE3-742826F5B8DC}" dt="2023-06-15T08:00:17.253" v="4996" actId="790"/>
          <ac:spMkLst>
            <pc:docMk/>
            <pc:sldMk cId="2291362489" sldId="2147470803"/>
            <ac:spMk id="69" creationId="{F30D72DA-8E46-63AC-4476-43B3837F8B84}"/>
          </ac:spMkLst>
        </pc:spChg>
        <pc:spChg chg="add mod">
          <ac:chgData name="Zhu Arena, GFTIOV, BCOM" userId="a49f412c-db83-45d3-9142-dc597ff7d65b" providerId="ADAL" clId="{46FD2C16-79FF-4FFE-BCE3-742826F5B8DC}" dt="2023-06-15T08:00:17.253" v="4997" actId="790"/>
          <ac:spMkLst>
            <pc:docMk/>
            <pc:sldMk cId="2291362489" sldId="2147470803"/>
            <ac:spMk id="70" creationId="{78434885-27FF-E534-1F85-2883970FFDDA}"/>
          </ac:spMkLst>
        </pc:spChg>
        <pc:spChg chg="add mod">
          <ac:chgData name="Zhu Arena, GFTIOV, BCOM" userId="a49f412c-db83-45d3-9142-dc597ff7d65b" providerId="ADAL" clId="{46FD2C16-79FF-4FFE-BCE3-742826F5B8DC}" dt="2023-06-15T08:00:17.253" v="4998" actId="790"/>
          <ac:spMkLst>
            <pc:docMk/>
            <pc:sldMk cId="2291362489" sldId="2147470803"/>
            <ac:spMk id="71" creationId="{FD8B965C-11C7-68DA-261E-BDA8AC3FA8C8}"/>
          </ac:spMkLst>
        </pc:spChg>
        <pc:grpChg chg="add mod">
          <ac:chgData name="Zhu Arena, GFTIOV, BCOM" userId="a49f412c-db83-45d3-9142-dc597ff7d65b" providerId="ADAL" clId="{46FD2C16-79FF-4FFE-BCE3-742826F5B8DC}" dt="2023-06-14T12:03:27.177" v="1392" actId="207"/>
          <ac:grpSpMkLst>
            <pc:docMk/>
            <pc:sldMk cId="2291362489" sldId="2147470803"/>
            <ac:grpSpMk id="28" creationId="{181BB769-6E3C-9785-2F95-B37F7DFDBCB3}"/>
          </ac:grpSpMkLst>
        </pc:grpChg>
        <pc:grpChg chg="add mod">
          <ac:chgData name="Zhu Arena, GFTIOV, BCOM" userId="a49f412c-db83-45d3-9142-dc597ff7d65b" providerId="ADAL" clId="{46FD2C16-79FF-4FFE-BCE3-742826F5B8DC}" dt="2023-06-14T12:03:27.177" v="1392" actId="207"/>
          <ac:grpSpMkLst>
            <pc:docMk/>
            <pc:sldMk cId="2291362489" sldId="2147470803"/>
            <ac:grpSpMk id="32" creationId="{FA16D394-86AA-3C7F-FF68-55D841B0C07F}"/>
          </ac:grpSpMkLst>
        </pc:grpChg>
        <pc:grpChg chg="add mod">
          <ac:chgData name="Zhu Arena, GFTIOV, BCOM" userId="a49f412c-db83-45d3-9142-dc597ff7d65b" providerId="ADAL" clId="{46FD2C16-79FF-4FFE-BCE3-742826F5B8DC}" dt="2023-06-15T02:00:16.699" v="2882" actId="1076"/>
          <ac:grpSpMkLst>
            <pc:docMk/>
            <pc:sldMk cId="2291362489" sldId="2147470803"/>
            <ac:grpSpMk id="38" creationId="{99FDAE59-0C7C-9E72-3B33-961580264E5A}"/>
          </ac:grpSpMkLst>
        </pc:grpChg>
        <pc:grpChg chg="add mod">
          <ac:chgData name="Zhu Arena, GFTIOV, BCOM" userId="a49f412c-db83-45d3-9142-dc597ff7d65b" providerId="ADAL" clId="{46FD2C16-79FF-4FFE-BCE3-742826F5B8DC}" dt="2023-06-15T02:00:24.132" v="2884" actId="14100"/>
          <ac:grpSpMkLst>
            <pc:docMk/>
            <pc:sldMk cId="2291362489" sldId="2147470803"/>
            <ac:grpSpMk id="42" creationId="{F7AD5B07-F9EF-0EA8-BBE1-99096E697D74}"/>
          </ac:grpSpMkLst>
        </pc:grpChg>
        <pc:grpChg chg="add mod">
          <ac:chgData name="Zhu Arena, GFTIOV, BCOM" userId="a49f412c-db83-45d3-9142-dc597ff7d65b" providerId="ADAL" clId="{46FD2C16-79FF-4FFE-BCE3-742826F5B8DC}" dt="2023-06-14T12:03:27.177" v="1392" actId="207"/>
          <ac:grpSpMkLst>
            <pc:docMk/>
            <pc:sldMk cId="2291362489" sldId="2147470803"/>
            <ac:grpSpMk id="45" creationId="{6AA5FFEE-1546-874E-A0DA-284E1F003F3E}"/>
          </ac:grpSpMkLst>
        </pc:grpChg>
        <pc:grpChg chg="add mod">
          <ac:chgData name="Zhu Arena, GFTIOV, BCOM" userId="a49f412c-db83-45d3-9142-dc597ff7d65b" providerId="ADAL" clId="{46FD2C16-79FF-4FFE-BCE3-742826F5B8DC}" dt="2023-06-14T12:31:38.113" v="1620" actId="478"/>
          <ac:grpSpMkLst>
            <pc:docMk/>
            <pc:sldMk cId="2291362489" sldId="2147470803"/>
            <ac:grpSpMk id="54" creationId="{D0A288BF-5F33-2D1A-3EFD-73D28FA4C72D}"/>
          </ac:grpSpMkLst>
        </pc:grpChg>
        <pc:graphicFrameChg chg="add mod modGraphic">
          <ac:chgData name="Zhu Arena, GFTIOV, BCOM" userId="a49f412c-db83-45d3-9142-dc597ff7d65b" providerId="ADAL" clId="{46FD2C16-79FF-4FFE-BCE3-742826F5B8DC}" dt="2023-06-15T08:00:17.229" v="4967" actId="790"/>
          <ac:graphicFrameMkLst>
            <pc:docMk/>
            <pc:sldMk cId="2291362489" sldId="2147470803"/>
            <ac:graphicFrameMk id="8" creationId="{D43EEBD2-F45E-51B0-E06D-CBA90D02A386}"/>
          </ac:graphicFrameMkLst>
        </pc:graphicFrameChg>
        <pc:graphicFrameChg chg="add mod modGraphic">
          <ac:chgData name="Zhu Arena, GFTIOV, BCOM" userId="a49f412c-db83-45d3-9142-dc597ff7d65b" providerId="ADAL" clId="{46FD2C16-79FF-4FFE-BCE3-742826F5B8DC}" dt="2023-06-15T08:00:17.237" v="4974" actId="790"/>
          <ac:graphicFrameMkLst>
            <pc:docMk/>
            <pc:sldMk cId="2291362489" sldId="2147470803"/>
            <ac:graphicFrameMk id="18" creationId="{B207E23E-8DC1-5DF8-B86C-7298B800BFB2}"/>
          </ac:graphicFrameMkLst>
        </pc:graphicFrameChg>
        <pc:graphicFrameChg chg="add mod modGraphic">
          <ac:chgData name="Zhu Arena, GFTIOV, BCOM" userId="a49f412c-db83-45d3-9142-dc597ff7d65b" providerId="ADAL" clId="{46FD2C16-79FF-4FFE-BCE3-742826F5B8DC}" dt="2023-06-15T08:00:17.237" v="4975" actId="790"/>
          <ac:graphicFrameMkLst>
            <pc:docMk/>
            <pc:sldMk cId="2291362489" sldId="2147470803"/>
            <ac:graphicFrameMk id="19" creationId="{902AECD1-1001-C1D2-D6D4-6AA88F069F7A}"/>
          </ac:graphicFrameMkLst>
        </pc:graphicFrameChg>
        <pc:graphicFrameChg chg="add mod modGraphic">
          <ac:chgData name="Zhu Arena, GFTIOV, BCOM" userId="a49f412c-db83-45d3-9142-dc597ff7d65b" providerId="ADAL" clId="{46FD2C16-79FF-4FFE-BCE3-742826F5B8DC}" dt="2023-06-15T08:00:17.237" v="4976" actId="790"/>
          <ac:graphicFrameMkLst>
            <pc:docMk/>
            <pc:sldMk cId="2291362489" sldId="2147470803"/>
            <ac:graphicFrameMk id="21" creationId="{21F50C55-D541-41D0-0133-B660D15E4F87}"/>
          </ac:graphicFrameMkLst>
        </pc:graphicFrameChg>
        <pc:picChg chg="add mod">
          <ac:chgData name="Zhu Arena, GFTIOV, BCOM" userId="a49f412c-db83-45d3-9142-dc597ff7d65b" providerId="ADAL" clId="{46FD2C16-79FF-4FFE-BCE3-742826F5B8DC}" dt="2023-06-14T13:40:36.968" v="2624" actId="14100"/>
          <ac:picMkLst>
            <pc:docMk/>
            <pc:sldMk cId="2291362489" sldId="2147470803"/>
            <ac:picMk id="6" creationId="{B2B2D0A2-F373-A3F5-7B8C-082E54B10A3B}"/>
          </ac:picMkLst>
        </pc:picChg>
        <pc:picChg chg="add del mod">
          <ac:chgData name="Zhu Arena, GFTIOV, BCOM" userId="a49f412c-db83-45d3-9142-dc597ff7d65b" providerId="ADAL" clId="{46FD2C16-79FF-4FFE-BCE3-742826F5B8DC}" dt="2023-06-14T12:28:22.137" v="1618" actId="478"/>
          <ac:picMkLst>
            <pc:docMk/>
            <pc:sldMk cId="2291362489" sldId="2147470803"/>
            <ac:picMk id="20" creationId="{502E7689-B3D9-171B-2850-6CD5565B4465}"/>
          </ac:picMkLst>
        </pc:picChg>
        <pc:picChg chg="add mod">
          <ac:chgData name="Zhu Arena, GFTIOV, BCOM" userId="a49f412c-db83-45d3-9142-dc597ff7d65b" providerId="ADAL" clId="{46FD2C16-79FF-4FFE-BCE3-742826F5B8DC}" dt="2023-06-14T12:08:58.192" v="1413" actId="1076"/>
          <ac:picMkLst>
            <pc:docMk/>
            <pc:sldMk cId="2291362489" sldId="2147470803"/>
            <ac:picMk id="24" creationId="{9A61E67E-3DC5-C7EC-B123-F681C07F71FA}"/>
          </ac:picMkLst>
        </pc:picChg>
        <pc:picChg chg="add mod">
          <ac:chgData name="Zhu Arena, GFTIOV, BCOM" userId="a49f412c-db83-45d3-9142-dc597ff7d65b" providerId="ADAL" clId="{46FD2C16-79FF-4FFE-BCE3-742826F5B8DC}" dt="2023-06-14T12:03:27.177" v="1392" actId="207"/>
          <ac:picMkLst>
            <pc:docMk/>
            <pc:sldMk cId="2291362489" sldId="2147470803"/>
            <ac:picMk id="26" creationId="{3C6BAFDF-0617-EAE2-1A2B-3C530FCE64E9}"/>
          </ac:picMkLst>
        </pc:picChg>
        <pc:picChg chg="mod">
          <ac:chgData name="Zhu Arena, GFTIOV, BCOM" userId="a49f412c-db83-45d3-9142-dc597ff7d65b" providerId="ADAL" clId="{46FD2C16-79FF-4FFE-BCE3-742826F5B8DC}" dt="2023-06-14T12:03:15.769" v="1391"/>
          <ac:picMkLst>
            <pc:docMk/>
            <pc:sldMk cId="2291362489" sldId="2147470803"/>
            <ac:picMk id="29" creationId="{55052568-6857-E5B6-B5B0-FCD51E479BA4}"/>
          </ac:picMkLst>
        </pc:picChg>
        <pc:picChg chg="mod">
          <ac:chgData name="Zhu Arena, GFTIOV, BCOM" userId="a49f412c-db83-45d3-9142-dc597ff7d65b" providerId="ADAL" clId="{46FD2C16-79FF-4FFE-BCE3-742826F5B8DC}" dt="2023-06-14T12:03:15.769" v="1391"/>
          <ac:picMkLst>
            <pc:docMk/>
            <pc:sldMk cId="2291362489" sldId="2147470803"/>
            <ac:picMk id="33" creationId="{3F6285AB-7F81-0692-7FBF-9E775C8616EE}"/>
          </ac:picMkLst>
        </pc:picChg>
        <pc:picChg chg="add mod">
          <ac:chgData name="Zhu Arena, GFTIOV, BCOM" userId="a49f412c-db83-45d3-9142-dc597ff7d65b" providerId="ADAL" clId="{46FD2C16-79FF-4FFE-BCE3-742826F5B8DC}" dt="2023-06-14T12:03:27.177" v="1392" actId="207"/>
          <ac:picMkLst>
            <pc:docMk/>
            <pc:sldMk cId="2291362489" sldId="2147470803"/>
            <ac:picMk id="36" creationId="{E8EF1369-36F7-7405-651E-98B2710EEA38}"/>
          </ac:picMkLst>
        </pc:picChg>
        <pc:picChg chg="mod">
          <ac:chgData name="Zhu Arena, GFTIOV, BCOM" userId="a49f412c-db83-45d3-9142-dc597ff7d65b" providerId="ADAL" clId="{46FD2C16-79FF-4FFE-BCE3-742826F5B8DC}" dt="2023-06-15T02:00:16.699" v="2882" actId="1076"/>
          <ac:picMkLst>
            <pc:docMk/>
            <pc:sldMk cId="2291362489" sldId="2147470803"/>
            <ac:picMk id="39" creationId="{D31B1350-4FC7-5086-2C97-06CDE2744FD8}"/>
          </ac:picMkLst>
        </pc:picChg>
        <pc:picChg chg="add mod">
          <ac:chgData name="Zhu Arena, GFTIOV, BCOM" userId="a49f412c-db83-45d3-9142-dc597ff7d65b" providerId="ADAL" clId="{46FD2C16-79FF-4FFE-BCE3-742826F5B8DC}" dt="2023-06-14T13:40:26.836" v="2622" actId="1076"/>
          <ac:picMkLst>
            <pc:docMk/>
            <pc:sldMk cId="2291362489" sldId="2147470803"/>
            <ac:picMk id="41" creationId="{40691970-4546-E30E-A5F8-775E15CCAA9A}"/>
          </ac:picMkLst>
        </pc:picChg>
        <pc:picChg chg="mod">
          <ac:chgData name="Zhu Arena, GFTIOV, BCOM" userId="a49f412c-db83-45d3-9142-dc597ff7d65b" providerId="ADAL" clId="{46FD2C16-79FF-4FFE-BCE3-742826F5B8DC}" dt="2023-06-15T02:00:24.132" v="2884" actId="14100"/>
          <ac:picMkLst>
            <pc:docMk/>
            <pc:sldMk cId="2291362489" sldId="2147470803"/>
            <ac:picMk id="43" creationId="{81B4150D-E0F3-51AC-96D9-9B45DEFF66AD}"/>
          </ac:picMkLst>
        </pc:picChg>
        <pc:picChg chg="mod">
          <ac:chgData name="Zhu Arena, GFTIOV, BCOM" userId="a49f412c-db83-45d3-9142-dc597ff7d65b" providerId="ADAL" clId="{46FD2C16-79FF-4FFE-BCE3-742826F5B8DC}" dt="2023-06-14T12:03:15.769" v="1391"/>
          <ac:picMkLst>
            <pc:docMk/>
            <pc:sldMk cId="2291362489" sldId="2147470803"/>
            <ac:picMk id="46" creationId="{E5AC35BA-0AC3-C583-DE0E-789943C17F68}"/>
          </ac:picMkLst>
        </pc:picChg>
        <pc:picChg chg="add mod">
          <ac:chgData name="Zhu Arena, GFTIOV, BCOM" userId="a49f412c-db83-45d3-9142-dc597ff7d65b" providerId="ADAL" clId="{46FD2C16-79FF-4FFE-BCE3-742826F5B8DC}" dt="2023-06-14T12:26:50.239" v="1548" actId="166"/>
          <ac:picMkLst>
            <pc:docMk/>
            <pc:sldMk cId="2291362489" sldId="2147470803"/>
            <ac:picMk id="48" creationId="{FD750615-27CF-FD0D-6949-38807079092C}"/>
          </ac:picMkLst>
        </pc:picChg>
        <pc:picChg chg="add mod">
          <ac:chgData name="Zhu Arena, GFTIOV, BCOM" userId="a49f412c-db83-45d3-9142-dc597ff7d65b" providerId="ADAL" clId="{46FD2C16-79FF-4FFE-BCE3-742826F5B8DC}" dt="2023-06-14T12:03:27.177" v="1392" actId="207"/>
          <ac:picMkLst>
            <pc:docMk/>
            <pc:sldMk cId="2291362489" sldId="2147470803"/>
            <ac:picMk id="50" creationId="{22C154DE-F395-5956-B7FF-6A463B5EEDBA}"/>
          </ac:picMkLst>
        </pc:picChg>
        <pc:picChg chg="add del mod">
          <ac:chgData name="Zhu Arena, GFTIOV, BCOM" userId="a49f412c-db83-45d3-9142-dc597ff7d65b" providerId="ADAL" clId="{46FD2C16-79FF-4FFE-BCE3-742826F5B8DC}" dt="2023-06-15T07:04:49.014" v="4102" actId="21"/>
          <ac:picMkLst>
            <pc:docMk/>
            <pc:sldMk cId="2291362489" sldId="2147470803"/>
            <ac:picMk id="57" creationId="{2154017D-A05E-2746-8887-02044AB1D19F}"/>
          </ac:picMkLst>
        </pc:picChg>
        <pc:picChg chg="del mod">
          <ac:chgData name="Zhu Arena, GFTIOV, BCOM" userId="a49f412c-db83-45d3-9142-dc597ff7d65b" providerId="ADAL" clId="{46FD2C16-79FF-4FFE-BCE3-742826F5B8DC}" dt="2023-06-14T12:31:31.395" v="1619" actId="478"/>
          <ac:picMkLst>
            <pc:docMk/>
            <pc:sldMk cId="2291362489" sldId="2147470803"/>
            <ac:picMk id="57" creationId="{3EB00F13-8042-1B01-C0D9-235C63978A64}"/>
          </ac:picMkLst>
        </pc:picChg>
        <pc:picChg chg="del mod">
          <ac:chgData name="Zhu Arena, GFTIOV, BCOM" userId="a49f412c-db83-45d3-9142-dc597ff7d65b" providerId="ADAL" clId="{46FD2C16-79FF-4FFE-BCE3-742826F5B8DC}" dt="2023-06-14T12:31:38.113" v="1620" actId="478"/>
          <ac:picMkLst>
            <pc:docMk/>
            <pc:sldMk cId="2291362489" sldId="2147470803"/>
            <ac:picMk id="58" creationId="{56AA920C-B875-EE11-8BB5-B20D1D90751F}"/>
          </ac:picMkLst>
        </pc:picChg>
        <pc:picChg chg="mod">
          <ac:chgData name="Zhu Arena, GFTIOV, BCOM" userId="a49f412c-db83-45d3-9142-dc597ff7d65b" providerId="ADAL" clId="{46FD2C16-79FF-4FFE-BCE3-742826F5B8DC}" dt="2023-06-14T12:31:38.113" v="1620" actId="478"/>
          <ac:picMkLst>
            <pc:docMk/>
            <pc:sldMk cId="2291362489" sldId="2147470803"/>
            <ac:picMk id="59" creationId="{E945C495-98CA-B0B9-D5F2-D5426D86DF21}"/>
          </ac:picMkLst>
        </pc:picChg>
        <pc:cxnChg chg="add mod">
          <ac:chgData name="Zhu Arena, GFTIOV, BCOM" userId="a49f412c-db83-45d3-9142-dc597ff7d65b" providerId="ADAL" clId="{46FD2C16-79FF-4FFE-BCE3-742826F5B8DC}" dt="2023-06-14T12:08:13.425" v="1410" actId="13822"/>
          <ac:cxnSpMkLst>
            <pc:docMk/>
            <pc:sldMk cId="2291362489" sldId="2147470803"/>
            <ac:cxnSpMk id="7" creationId="{1A3A3473-E873-A672-A1FE-831741DC5C59}"/>
          </ac:cxnSpMkLst>
        </pc:cxnChg>
        <pc:cxnChg chg="add mod">
          <ac:chgData name="Zhu Arena, GFTIOV, BCOM" userId="a49f412c-db83-45d3-9142-dc597ff7d65b" providerId="ADAL" clId="{46FD2C16-79FF-4FFE-BCE3-742826F5B8DC}" dt="2023-06-15T07:23:42.513" v="4427" actId="1076"/>
          <ac:cxnSpMkLst>
            <pc:docMk/>
            <pc:sldMk cId="2291362489" sldId="2147470803"/>
            <ac:cxnSpMk id="9" creationId="{63EAF059-4895-D9CE-AE15-FB2A7A62D0FB}"/>
          </ac:cxnSpMkLst>
        </pc:cxnChg>
        <pc:cxnChg chg="add mod">
          <ac:chgData name="Zhu Arena, GFTIOV, BCOM" userId="a49f412c-db83-45d3-9142-dc597ff7d65b" providerId="ADAL" clId="{46FD2C16-79FF-4FFE-BCE3-742826F5B8DC}" dt="2023-06-14T12:03:27.177" v="1392" actId="207"/>
          <ac:cxnSpMkLst>
            <pc:docMk/>
            <pc:sldMk cId="2291362489" sldId="2147470803"/>
            <ac:cxnSpMk id="10" creationId="{AFC92811-2AA2-9A18-8BDE-8F7857622A78}"/>
          </ac:cxnSpMkLst>
        </pc:cxnChg>
        <pc:cxnChg chg="add mod">
          <ac:chgData name="Zhu Arena, GFTIOV, BCOM" userId="a49f412c-db83-45d3-9142-dc597ff7d65b" providerId="ADAL" clId="{46FD2C16-79FF-4FFE-BCE3-742826F5B8DC}" dt="2023-06-15T02:05:04.708" v="2888" actId="1076"/>
          <ac:cxnSpMkLst>
            <pc:docMk/>
            <pc:sldMk cId="2291362489" sldId="2147470803"/>
            <ac:cxnSpMk id="17" creationId="{B1D72C96-C375-E5BC-A1E0-A98DBBA315AA}"/>
          </ac:cxnSpMkLst>
        </pc:cxnChg>
      </pc:sldChg>
      <pc:sldChg chg="new del">
        <pc:chgData name="Zhu Arena, GFTIOV, BCOM" userId="a49f412c-db83-45d3-9142-dc597ff7d65b" providerId="ADAL" clId="{46FD2C16-79FF-4FFE-BCE3-742826F5B8DC}" dt="2023-06-14T09:21:12.082" v="1030" actId="47"/>
        <pc:sldMkLst>
          <pc:docMk/>
          <pc:sldMk cId="2733665552" sldId="2147470803"/>
        </pc:sldMkLst>
      </pc:sldChg>
      <pc:sldChg chg="addSp delSp modSp new mod modClrScheme chgLayout">
        <pc:chgData name="Zhu Arena, GFTIOV, BCOM" userId="a49f412c-db83-45d3-9142-dc597ff7d65b" providerId="ADAL" clId="{46FD2C16-79FF-4FFE-BCE3-742826F5B8DC}" dt="2023-06-15T08:00:17.229" v="4962" actId="790"/>
        <pc:sldMkLst>
          <pc:docMk/>
          <pc:sldMk cId="443065883" sldId="2147470804"/>
        </pc:sldMkLst>
        <pc:spChg chg="mod ord">
          <ac:chgData name="Zhu Arena, GFTIOV, BCOM" userId="a49f412c-db83-45d3-9142-dc597ff7d65b" providerId="ADAL" clId="{46FD2C16-79FF-4FFE-BCE3-742826F5B8DC}" dt="2023-06-15T08:00:17.221" v="4957" actId="790"/>
          <ac:spMkLst>
            <pc:docMk/>
            <pc:sldMk cId="443065883" sldId="2147470804"/>
            <ac:spMk id="2" creationId="{93CD19C5-94FE-3591-3A5A-18EC86351BE5}"/>
          </ac:spMkLst>
        </pc:spChg>
        <pc:spChg chg="mod ord">
          <ac:chgData name="Zhu Arena, GFTIOV, BCOM" userId="a49f412c-db83-45d3-9142-dc597ff7d65b" providerId="ADAL" clId="{46FD2C16-79FF-4FFE-BCE3-742826F5B8DC}" dt="2023-06-15T08:00:17.221" v="4959" actId="790"/>
          <ac:spMkLst>
            <pc:docMk/>
            <pc:sldMk cId="443065883" sldId="2147470804"/>
            <ac:spMk id="3" creationId="{EFA37AB5-C255-83B9-1BC4-9C84FFDCEC7C}"/>
          </ac:spMkLst>
        </pc:spChg>
        <pc:spChg chg="mod ord">
          <ac:chgData name="Zhu Arena, GFTIOV, BCOM" userId="a49f412c-db83-45d3-9142-dc597ff7d65b" providerId="ADAL" clId="{46FD2C16-79FF-4FFE-BCE3-742826F5B8DC}" dt="2023-06-15T08:00:17.229" v="4960" actId="790"/>
          <ac:spMkLst>
            <pc:docMk/>
            <pc:sldMk cId="443065883" sldId="2147470804"/>
            <ac:spMk id="4" creationId="{60A0C3EF-08A2-74DA-B76D-AC08201AAEDB}"/>
          </ac:spMkLst>
        </pc:spChg>
        <pc:spChg chg="add mod ord">
          <ac:chgData name="Zhu Arena, GFTIOV, BCOM" userId="a49f412c-db83-45d3-9142-dc597ff7d65b" providerId="ADAL" clId="{46FD2C16-79FF-4FFE-BCE3-742826F5B8DC}" dt="2023-06-15T08:00:17.221" v="4958" actId="790"/>
          <ac:spMkLst>
            <pc:docMk/>
            <pc:sldMk cId="443065883" sldId="2147470804"/>
            <ac:spMk id="5" creationId="{E4FF4190-9643-DFEB-514D-2785272AF3AF}"/>
          </ac:spMkLst>
        </pc:spChg>
        <pc:spChg chg="add mod ord">
          <ac:chgData name="Zhu Arena, GFTIOV, BCOM" userId="a49f412c-db83-45d3-9142-dc597ff7d65b" providerId="ADAL" clId="{46FD2C16-79FF-4FFE-BCE3-742826F5B8DC}" dt="2023-06-15T08:00:17.229" v="4961" actId="790"/>
          <ac:spMkLst>
            <pc:docMk/>
            <pc:sldMk cId="443065883" sldId="2147470804"/>
            <ac:spMk id="6" creationId="{D80C8F7A-CB17-419E-4E6E-D9D97FE99DDD}"/>
          </ac:spMkLst>
        </pc:spChg>
        <pc:spChg chg="add mod ord">
          <ac:chgData name="Zhu Arena, GFTIOV, BCOM" userId="a49f412c-db83-45d3-9142-dc597ff7d65b" providerId="ADAL" clId="{46FD2C16-79FF-4FFE-BCE3-742826F5B8DC}" dt="2023-06-15T08:00:17.229" v="4962" actId="790"/>
          <ac:spMkLst>
            <pc:docMk/>
            <pc:sldMk cId="443065883" sldId="2147470804"/>
            <ac:spMk id="7" creationId="{8260D46D-C519-AF7C-434C-827068B7A1E1}"/>
          </ac:spMkLst>
        </pc:spChg>
        <pc:spChg chg="add del mod ord">
          <ac:chgData name="Zhu Arena, GFTIOV, BCOM" userId="a49f412c-db83-45d3-9142-dc597ff7d65b" providerId="ADAL" clId="{46FD2C16-79FF-4FFE-BCE3-742826F5B8DC}" dt="2023-06-15T02:38:23.605" v="3077"/>
          <ac:spMkLst>
            <pc:docMk/>
            <pc:sldMk cId="443065883" sldId="2147470804"/>
            <ac:spMk id="8" creationId="{E150E57E-6534-4830-CFA9-AC75F594848A}"/>
          </ac:spMkLst>
        </pc:spChg>
        <pc:spChg chg="add del mod ord">
          <ac:chgData name="Zhu Arena, GFTIOV, BCOM" userId="a49f412c-db83-45d3-9142-dc597ff7d65b" providerId="ADAL" clId="{46FD2C16-79FF-4FFE-BCE3-742826F5B8DC}" dt="2023-06-15T02:38:39.228" v="3078"/>
          <ac:spMkLst>
            <pc:docMk/>
            <pc:sldMk cId="443065883" sldId="2147470804"/>
            <ac:spMk id="9" creationId="{5FBA9CB0-8AF8-FCDB-4388-D7DB4AC2C6BA}"/>
          </ac:spMkLst>
        </pc:spChg>
        <pc:spChg chg="add del mod ord">
          <ac:chgData name="Zhu Arena, GFTIOV, BCOM" userId="a49f412c-db83-45d3-9142-dc597ff7d65b" providerId="ADAL" clId="{46FD2C16-79FF-4FFE-BCE3-742826F5B8DC}" dt="2023-06-15T02:49:23.867" v="3123"/>
          <ac:spMkLst>
            <pc:docMk/>
            <pc:sldMk cId="443065883" sldId="2147470804"/>
            <ac:spMk id="10" creationId="{C0342370-294D-4CD9-8950-5A983F2C1665}"/>
          </ac:spMkLst>
        </pc:spChg>
        <pc:picChg chg="add mod">
          <ac:chgData name="Zhu Arena, GFTIOV, BCOM" userId="a49f412c-db83-45d3-9142-dc597ff7d65b" providerId="ADAL" clId="{46FD2C16-79FF-4FFE-BCE3-742826F5B8DC}" dt="2023-06-15T02:38:23.605" v="3077"/>
          <ac:picMkLst>
            <pc:docMk/>
            <pc:sldMk cId="443065883" sldId="2147470804"/>
            <ac:picMk id="11" creationId="{7AAB4357-26C7-2D31-C5A7-781EBAB4F2F8}"/>
          </ac:picMkLst>
        </pc:picChg>
        <pc:picChg chg="add mod">
          <ac:chgData name="Zhu Arena, GFTIOV, BCOM" userId="a49f412c-db83-45d3-9142-dc597ff7d65b" providerId="ADAL" clId="{46FD2C16-79FF-4FFE-BCE3-742826F5B8DC}" dt="2023-06-15T02:38:39.228" v="3078"/>
          <ac:picMkLst>
            <pc:docMk/>
            <pc:sldMk cId="443065883" sldId="2147470804"/>
            <ac:picMk id="12" creationId="{6265A174-9DA5-89FD-3A23-46198DA9F2D0}"/>
          </ac:picMkLst>
        </pc:picChg>
        <pc:picChg chg="add mod">
          <ac:chgData name="Zhu Arena, GFTIOV, BCOM" userId="a49f412c-db83-45d3-9142-dc597ff7d65b" providerId="ADAL" clId="{46FD2C16-79FF-4FFE-BCE3-742826F5B8DC}" dt="2023-06-15T02:49:23.867" v="3123"/>
          <ac:picMkLst>
            <pc:docMk/>
            <pc:sldMk cId="443065883" sldId="2147470804"/>
            <ac:picMk id="13" creationId="{C072B9D4-5B5C-6EA1-DF1E-70E9FC8977DA}"/>
          </ac:picMkLst>
        </pc:picChg>
      </pc:sldChg>
      <pc:sldChg chg="addSp delSp modSp new del mod">
        <pc:chgData name="Zhu Arena, GFTIOV, BCOM" userId="a49f412c-db83-45d3-9142-dc597ff7d65b" providerId="ADAL" clId="{46FD2C16-79FF-4FFE-BCE3-742826F5B8DC}" dt="2023-06-14T13:13:24.269" v="2242" actId="47"/>
        <pc:sldMkLst>
          <pc:docMk/>
          <pc:sldMk cId="2159859362" sldId="2147470804"/>
        </pc:sldMkLst>
        <pc:spChg chg="mod">
          <ac:chgData name="Zhu Arena, GFTIOV, BCOM" userId="a49f412c-db83-45d3-9142-dc597ff7d65b" providerId="ADAL" clId="{46FD2C16-79FF-4FFE-BCE3-742826F5B8DC}" dt="2023-06-14T13:13:02.847" v="2178" actId="790"/>
          <ac:spMkLst>
            <pc:docMk/>
            <pc:sldMk cId="2159859362" sldId="2147470804"/>
            <ac:spMk id="2" creationId="{D0C8B6BD-15C2-5E38-9315-DE16313E5144}"/>
          </ac:spMkLst>
        </pc:spChg>
        <pc:spChg chg="mod">
          <ac:chgData name="Zhu Arena, GFTIOV, BCOM" userId="a49f412c-db83-45d3-9142-dc597ff7d65b" providerId="ADAL" clId="{46FD2C16-79FF-4FFE-BCE3-742826F5B8DC}" dt="2023-06-14T13:13:02.847" v="2179" actId="790"/>
          <ac:spMkLst>
            <pc:docMk/>
            <pc:sldMk cId="2159859362" sldId="2147470804"/>
            <ac:spMk id="3" creationId="{D9A4238C-0191-0BDF-B377-8C9440C1AA06}"/>
          </ac:spMkLst>
        </pc:spChg>
        <pc:spChg chg="mod">
          <ac:chgData name="Zhu Arena, GFTIOV, BCOM" userId="a49f412c-db83-45d3-9142-dc597ff7d65b" providerId="ADAL" clId="{46FD2C16-79FF-4FFE-BCE3-742826F5B8DC}" dt="2023-06-14T13:13:02.847" v="2180" actId="790"/>
          <ac:spMkLst>
            <pc:docMk/>
            <pc:sldMk cId="2159859362" sldId="2147470804"/>
            <ac:spMk id="5" creationId="{9D0E3BE9-DE71-CAB6-1FFC-E05B32E23E94}"/>
          </ac:spMkLst>
        </pc:spChg>
        <pc:spChg chg="del">
          <ac:chgData name="Zhu Arena, GFTIOV, BCOM" userId="a49f412c-db83-45d3-9142-dc597ff7d65b" providerId="ADAL" clId="{46FD2C16-79FF-4FFE-BCE3-742826F5B8DC}" dt="2023-06-14T12:58:52.968" v="1934" actId="478"/>
          <ac:spMkLst>
            <pc:docMk/>
            <pc:sldMk cId="2159859362" sldId="2147470804"/>
            <ac:spMk id="6" creationId="{976DE371-C475-E005-0B69-E55A0A65D9C8}"/>
          </ac:spMkLst>
        </pc:spChg>
        <pc:spChg chg="add mod">
          <ac:chgData name="Zhu Arena, GFTIOV, BCOM" userId="a49f412c-db83-45d3-9142-dc597ff7d65b" providerId="ADAL" clId="{46FD2C16-79FF-4FFE-BCE3-742826F5B8DC}" dt="2023-06-14T13:13:02.847" v="2181" actId="790"/>
          <ac:spMkLst>
            <pc:docMk/>
            <pc:sldMk cId="2159859362" sldId="2147470804"/>
            <ac:spMk id="8" creationId="{FF87C8D5-0C33-F1C6-9332-FD4FB6FAE426}"/>
          </ac:spMkLst>
        </pc:spChg>
        <pc:spChg chg="add del mod">
          <ac:chgData name="Zhu Arena, GFTIOV, BCOM" userId="a49f412c-db83-45d3-9142-dc597ff7d65b" providerId="ADAL" clId="{46FD2C16-79FF-4FFE-BCE3-742826F5B8DC}" dt="2023-06-14T12:59:52.536" v="1943"/>
          <ac:spMkLst>
            <pc:docMk/>
            <pc:sldMk cId="2159859362" sldId="2147470804"/>
            <ac:spMk id="10" creationId="{0DDC3440-5C0B-E39A-4610-2F1170452DD1}"/>
          </ac:spMkLst>
        </pc:spChg>
        <pc:graphicFrameChg chg="add del mod">
          <ac:chgData name="Zhu Arena, GFTIOV, BCOM" userId="a49f412c-db83-45d3-9142-dc597ff7d65b" providerId="ADAL" clId="{46FD2C16-79FF-4FFE-BCE3-742826F5B8DC}" dt="2023-06-14T12:59:52.536" v="1943"/>
          <ac:graphicFrameMkLst>
            <pc:docMk/>
            <pc:sldMk cId="2159859362" sldId="2147470804"/>
            <ac:graphicFrameMk id="9" creationId="{BF4068F9-E441-3E4E-A9F9-2D9C884A0B4F}"/>
          </ac:graphicFrameMkLst>
        </pc:graphicFrameChg>
        <pc:picChg chg="add mod">
          <ac:chgData name="Zhu Arena, GFTIOV, BCOM" userId="a49f412c-db83-45d3-9142-dc597ff7d65b" providerId="ADAL" clId="{46FD2C16-79FF-4FFE-BCE3-742826F5B8DC}" dt="2023-06-14T12:58:47.185" v="1933" actId="14100"/>
          <ac:picMkLst>
            <pc:docMk/>
            <pc:sldMk cId="2159859362" sldId="2147470804"/>
            <ac:picMk id="7" creationId="{A8776836-3CAB-9CEC-47E8-87DFFF58476C}"/>
          </ac:picMkLst>
        </pc:picChg>
        <pc:picChg chg="add del mod">
          <ac:chgData name="Zhu Arena, GFTIOV, BCOM" userId="a49f412c-db83-45d3-9142-dc597ff7d65b" providerId="ADAL" clId="{46FD2C16-79FF-4FFE-BCE3-742826F5B8DC}" dt="2023-06-14T13:11:09.143" v="1985"/>
          <ac:picMkLst>
            <pc:docMk/>
            <pc:sldMk cId="2159859362" sldId="2147470804"/>
            <ac:picMk id="11" creationId="{31D32024-3EEE-38EE-4EBC-05A16130CCA8}"/>
          </ac:picMkLst>
        </pc:picChg>
      </pc:sldChg>
      <pc:sldChg chg="add del">
        <pc:chgData name="Zhu Arena, GFTIOV, BCOM" userId="a49f412c-db83-45d3-9142-dc597ff7d65b" providerId="ADAL" clId="{46FD2C16-79FF-4FFE-BCE3-742826F5B8DC}" dt="2023-06-14T12:58:08.956" v="1924"/>
        <pc:sldMkLst>
          <pc:docMk/>
          <pc:sldMk cId="2836066752" sldId="2147470804"/>
        </pc:sldMkLst>
      </pc:sldChg>
      <pc:sldChg chg="addSp delSp modSp new del mod modClrScheme chgLayout">
        <pc:chgData name="Zhu Arena, GFTIOV, BCOM" userId="a49f412c-db83-45d3-9142-dc597ff7d65b" providerId="ADAL" clId="{46FD2C16-79FF-4FFE-BCE3-742826F5B8DC}" dt="2023-06-15T01:58:34.189" v="2878" actId="47"/>
        <pc:sldMkLst>
          <pc:docMk/>
          <pc:sldMk cId="2924402999" sldId="2147470804"/>
        </pc:sldMkLst>
        <pc:spChg chg="mod ord">
          <ac:chgData name="Zhu Arena, GFTIOV, BCOM" userId="a49f412c-db83-45d3-9142-dc597ff7d65b" providerId="ADAL" clId="{46FD2C16-79FF-4FFE-BCE3-742826F5B8DC}" dt="2023-06-15T01:50:44.667" v="2804" actId="700"/>
          <ac:spMkLst>
            <pc:docMk/>
            <pc:sldMk cId="2924402999" sldId="2147470804"/>
            <ac:spMk id="2" creationId="{A1D4E5A7-170A-22D1-C3A4-C86636166AD7}"/>
          </ac:spMkLst>
        </pc:spChg>
        <pc:spChg chg="mod ord">
          <ac:chgData name="Zhu Arena, GFTIOV, BCOM" userId="a49f412c-db83-45d3-9142-dc597ff7d65b" providerId="ADAL" clId="{46FD2C16-79FF-4FFE-BCE3-742826F5B8DC}" dt="2023-06-15T01:50:44.667" v="2804" actId="700"/>
          <ac:spMkLst>
            <pc:docMk/>
            <pc:sldMk cId="2924402999" sldId="2147470804"/>
            <ac:spMk id="3" creationId="{8C07BD21-BFD7-EF49-5E28-0A27FB376226}"/>
          </ac:spMkLst>
        </pc:spChg>
        <pc:spChg chg="mod ord">
          <ac:chgData name="Zhu Arena, GFTIOV, BCOM" userId="a49f412c-db83-45d3-9142-dc597ff7d65b" providerId="ADAL" clId="{46FD2C16-79FF-4FFE-BCE3-742826F5B8DC}" dt="2023-06-15T01:50:44.667" v="2804" actId="700"/>
          <ac:spMkLst>
            <pc:docMk/>
            <pc:sldMk cId="2924402999" sldId="2147470804"/>
            <ac:spMk id="4" creationId="{62DDA31A-A784-8BFE-8797-25D5584A68B1}"/>
          </ac:spMkLst>
        </pc:spChg>
        <pc:spChg chg="add del mod ord">
          <ac:chgData name="Zhu Arena, GFTIOV, BCOM" userId="a49f412c-db83-45d3-9142-dc597ff7d65b" providerId="ADAL" clId="{46FD2C16-79FF-4FFE-BCE3-742826F5B8DC}" dt="2023-06-15T01:50:44.667" v="2804" actId="700"/>
          <ac:spMkLst>
            <pc:docMk/>
            <pc:sldMk cId="2924402999" sldId="2147470804"/>
            <ac:spMk id="5" creationId="{2EAA25E5-DA59-9D37-5627-39F6ACBAA225}"/>
          </ac:spMkLst>
        </pc:spChg>
        <pc:spChg chg="add del mod ord">
          <ac:chgData name="Zhu Arena, GFTIOV, BCOM" userId="a49f412c-db83-45d3-9142-dc597ff7d65b" providerId="ADAL" clId="{46FD2C16-79FF-4FFE-BCE3-742826F5B8DC}" dt="2023-06-15T01:50:44.667" v="2804" actId="700"/>
          <ac:spMkLst>
            <pc:docMk/>
            <pc:sldMk cId="2924402999" sldId="2147470804"/>
            <ac:spMk id="6" creationId="{1B8E3199-9190-6D86-F725-AAAC6509B7D5}"/>
          </ac:spMkLst>
        </pc:spChg>
        <pc:spChg chg="add del mod ord">
          <ac:chgData name="Zhu Arena, GFTIOV, BCOM" userId="a49f412c-db83-45d3-9142-dc597ff7d65b" providerId="ADAL" clId="{46FD2C16-79FF-4FFE-BCE3-742826F5B8DC}" dt="2023-06-15T01:50:44.667" v="2804" actId="700"/>
          <ac:spMkLst>
            <pc:docMk/>
            <pc:sldMk cId="2924402999" sldId="2147470804"/>
            <ac:spMk id="7" creationId="{6EAC80FE-2BEA-93EA-3C1A-EADB88D64437}"/>
          </ac:spMkLst>
        </pc:spChg>
        <pc:spChg chg="add del mod">
          <ac:chgData name="Zhu Arena, GFTIOV, BCOM" userId="a49f412c-db83-45d3-9142-dc597ff7d65b" providerId="ADAL" clId="{46FD2C16-79FF-4FFE-BCE3-742826F5B8DC}" dt="2023-06-15T01:50:41.102" v="2803"/>
          <ac:spMkLst>
            <pc:docMk/>
            <pc:sldMk cId="2924402999" sldId="2147470804"/>
            <ac:spMk id="8" creationId="{9CB00511-C614-C3F7-3848-52CBD01299DF}"/>
          </ac:spMkLst>
        </pc:spChg>
        <pc:spChg chg="add del mod">
          <ac:chgData name="Zhu Arena, GFTIOV, BCOM" userId="a49f412c-db83-45d3-9142-dc597ff7d65b" providerId="ADAL" clId="{46FD2C16-79FF-4FFE-BCE3-742826F5B8DC}" dt="2023-06-15T01:50:41.102" v="2803"/>
          <ac:spMkLst>
            <pc:docMk/>
            <pc:sldMk cId="2924402999" sldId="2147470804"/>
            <ac:spMk id="9" creationId="{93D3BC83-0AAA-B279-19E7-584627BF96B0}"/>
          </ac:spMkLst>
        </pc:spChg>
        <pc:spChg chg="add del mod">
          <ac:chgData name="Zhu Arena, GFTIOV, BCOM" userId="a49f412c-db83-45d3-9142-dc597ff7d65b" providerId="ADAL" clId="{46FD2C16-79FF-4FFE-BCE3-742826F5B8DC}" dt="2023-06-15T01:50:41.102" v="2803"/>
          <ac:spMkLst>
            <pc:docMk/>
            <pc:sldMk cId="2924402999" sldId="2147470804"/>
            <ac:spMk id="10" creationId="{379CD887-B2C0-2164-3FEC-355F82F7882B}"/>
          </ac:spMkLst>
        </pc:spChg>
        <pc:spChg chg="add del mod">
          <ac:chgData name="Zhu Arena, GFTIOV, BCOM" userId="a49f412c-db83-45d3-9142-dc597ff7d65b" providerId="ADAL" clId="{46FD2C16-79FF-4FFE-BCE3-742826F5B8DC}" dt="2023-06-15T01:50:41.102" v="2803"/>
          <ac:spMkLst>
            <pc:docMk/>
            <pc:sldMk cId="2924402999" sldId="2147470804"/>
            <ac:spMk id="11" creationId="{5C72FDAA-2ED6-850E-44A4-A84EFFF0993E}"/>
          </ac:spMkLst>
        </pc:spChg>
        <pc:spChg chg="add del mod">
          <ac:chgData name="Zhu Arena, GFTIOV, BCOM" userId="a49f412c-db83-45d3-9142-dc597ff7d65b" providerId="ADAL" clId="{46FD2C16-79FF-4FFE-BCE3-742826F5B8DC}" dt="2023-06-15T01:50:41.102" v="2803"/>
          <ac:spMkLst>
            <pc:docMk/>
            <pc:sldMk cId="2924402999" sldId="2147470804"/>
            <ac:spMk id="12" creationId="{F523B38F-FB05-A1EA-9F70-DF3D3CDC1E75}"/>
          </ac:spMkLst>
        </pc:spChg>
        <pc:spChg chg="add del mod">
          <ac:chgData name="Zhu Arena, GFTIOV, BCOM" userId="a49f412c-db83-45d3-9142-dc597ff7d65b" providerId="ADAL" clId="{46FD2C16-79FF-4FFE-BCE3-742826F5B8DC}" dt="2023-06-15T01:50:41.102" v="2803"/>
          <ac:spMkLst>
            <pc:docMk/>
            <pc:sldMk cId="2924402999" sldId="2147470804"/>
            <ac:spMk id="13" creationId="{BB6629F6-99BC-6D1E-EA4D-F9E324FC5AA1}"/>
          </ac:spMkLst>
        </pc:spChg>
        <pc:spChg chg="add mod">
          <ac:chgData name="Zhu Arena, GFTIOV, BCOM" userId="a49f412c-db83-45d3-9142-dc597ff7d65b" providerId="ADAL" clId="{46FD2C16-79FF-4FFE-BCE3-742826F5B8DC}" dt="2023-06-15T01:54:33.275" v="2843" actId="1076"/>
          <ac:spMkLst>
            <pc:docMk/>
            <pc:sldMk cId="2924402999" sldId="2147470804"/>
            <ac:spMk id="23" creationId="{586D3361-0E6C-9905-CB2F-0C7874BFFC02}"/>
          </ac:spMkLst>
        </pc:spChg>
        <pc:spChg chg="add mod">
          <ac:chgData name="Zhu Arena, GFTIOV, BCOM" userId="a49f412c-db83-45d3-9142-dc597ff7d65b" providerId="ADAL" clId="{46FD2C16-79FF-4FFE-BCE3-742826F5B8DC}" dt="2023-06-15T01:54:24.937" v="2842" actId="1076"/>
          <ac:spMkLst>
            <pc:docMk/>
            <pc:sldMk cId="2924402999" sldId="2147470804"/>
            <ac:spMk id="25" creationId="{A6CADF85-4B3D-41C2-BFFB-A8AD94507649}"/>
          </ac:spMkLst>
        </pc:spChg>
        <pc:picChg chg="add mod">
          <ac:chgData name="Zhu Arena, GFTIOV, BCOM" userId="a49f412c-db83-45d3-9142-dc597ff7d65b" providerId="ADAL" clId="{46FD2C16-79FF-4FFE-BCE3-742826F5B8DC}" dt="2023-06-15T01:55:39.564" v="2855" actId="1076"/>
          <ac:picMkLst>
            <pc:docMk/>
            <pc:sldMk cId="2924402999" sldId="2147470804"/>
            <ac:picMk id="14" creationId="{4F6771CE-52DE-7810-7015-6F6DEE2A49CD}"/>
          </ac:picMkLst>
        </pc:picChg>
        <pc:picChg chg="add mod">
          <ac:chgData name="Zhu Arena, GFTIOV, BCOM" userId="a49f412c-db83-45d3-9142-dc597ff7d65b" providerId="ADAL" clId="{46FD2C16-79FF-4FFE-BCE3-742826F5B8DC}" dt="2023-06-15T01:55:35.360" v="2852" actId="1076"/>
          <ac:picMkLst>
            <pc:docMk/>
            <pc:sldMk cId="2924402999" sldId="2147470804"/>
            <ac:picMk id="15" creationId="{C5984A22-3B5A-BBB0-4C45-7E2612483FEF}"/>
          </ac:picMkLst>
        </pc:picChg>
        <pc:picChg chg="add mod">
          <ac:chgData name="Zhu Arena, GFTIOV, BCOM" userId="a49f412c-db83-45d3-9142-dc597ff7d65b" providerId="ADAL" clId="{46FD2C16-79FF-4FFE-BCE3-742826F5B8DC}" dt="2023-06-15T01:55:40.673" v="2856" actId="1076"/>
          <ac:picMkLst>
            <pc:docMk/>
            <pc:sldMk cId="2924402999" sldId="2147470804"/>
            <ac:picMk id="16" creationId="{C1A3EFE1-0C55-D676-C482-9492342AEAA6}"/>
          </ac:picMkLst>
        </pc:picChg>
        <pc:picChg chg="add mod">
          <ac:chgData name="Zhu Arena, GFTIOV, BCOM" userId="a49f412c-db83-45d3-9142-dc597ff7d65b" providerId="ADAL" clId="{46FD2C16-79FF-4FFE-BCE3-742826F5B8DC}" dt="2023-06-15T01:55:38.067" v="2854" actId="1076"/>
          <ac:picMkLst>
            <pc:docMk/>
            <pc:sldMk cId="2924402999" sldId="2147470804"/>
            <ac:picMk id="17" creationId="{1D3D72F4-3411-AC20-CB29-92BE50F0A7AB}"/>
          </ac:picMkLst>
        </pc:picChg>
        <pc:picChg chg="add mod">
          <ac:chgData name="Zhu Arena, GFTIOV, BCOM" userId="a49f412c-db83-45d3-9142-dc597ff7d65b" providerId="ADAL" clId="{46FD2C16-79FF-4FFE-BCE3-742826F5B8DC}" dt="2023-06-15T01:55:28.373" v="2849" actId="1076"/>
          <ac:picMkLst>
            <pc:docMk/>
            <pc:sldMk cId="2924402999" sldId="2147470804"/>
            <ac:picMk id="18" creationId="{4346E09A-65C1-9FF9-5651-B5FD34538232}"/>
          </ac:picMkLst>
        </pc:picChg>
        <pc:picChg chg="add mod">
          <ac:chgData name="Zhu Arena, GFTIOV, BCOM" userId="a49f412c-db83-45d3-9142-dc597ff7d65b" providerId="ADAL" clId="{46FD2C16-79FF-4FFE-BCE3-742826F5B8DC}" dt="2023-06-15T01:52:26.285" v="2813" actId="1076"/>
          <ac:picMkLst>
            <pc:docMk/>
            <pc:sldMk cId="2924402999" sldId="2147470804"/>
            <ac:picMk id="19" creationId="{C00774EE-8C18-8CC2-CE37-CE775564648F}"/>
          </ac:picMkLst>
        </pc:picChg>
        <pc:picChg chg="add mod">
          <ac:chgData name="Zhu Arena, GFTIOV, BCOM" userId="a49f412c-db83-45d3-9142-dc597ff7d65b" providerId="ADAL" clId="{46FD2C16-79FF-4FFE-BCE3-742826F5B8DC}" dt="2023-06-15T01:54:21.333" v="2841" actId="1076"/>
          <ac:picMkLst>
            <pc:docMk/>
            <pc:sldMk cId="2924402999" sldId="2147470804"/>
            <ac:picMk id="20" creationId="{60D937D2-9AC1-9326-B16D-AEBD91887D2E}"/>
          </ac:picMkLst>
        </pc:picChg>
        <pc:picChg chg="add mod">
          <ac:chgData name="Zhu Arena, GFTIOV, BCOM" userId="a49f412c-db83-45d3-9142-dc597ff7d65b" providerId="ADAL" clId="{46FD2C16-79FF-4FFE-BCE3-742826F5B8DC}" dt="2023-06-15T01:54:21.333" v="2841" actId="1076"/>
          <ac:picMkLst>
            <pc:docMk/>
            <pc:sldMk cId="2924402999" sldId="2147470804"/>
            <ac:picMk id="21" creationId="{3ED242C0-7B1A-1213-9767-DE0C62B15920}"/>
          </ac:picMkLst>
        </pc:picChg>
      </pc:sldChg>
      <pc:sldChg chg="addSp delSp modSp add mod delAnim modAnim">
        <pc:chgData name="Zhu Arena, GFTIOV, BCOM" userId="a49f412c-db83-45d3-9142-dc597ff7d65b" providerId="ADAL" clId="{46FD2C16-79FF-4FFE-BCE3-742826F5B8DC}" dt="2023-06-16T03:36:13.097" v="6893" actId="207"/>
        <pc:sldMkLst>
          <pc:docMk/>
          <pc:sldMk cId="3918490550" sldId="2147470805"/>
        </pc:sldMkLst>
        <pc:spChg chg="mod">
          <ac:chgData name="Zhu Arena, GFTIOV, BCOM" userId="a49f412c-db83-45d3-9142-dc597ff7d65b" providerId="ADAL" clId="{46FD2C16-79FF-4FFE-BCE3-742826F5B8DC}" dt="2023-06-15T08:00:17.167" v="4863" actId="790"/>
          <ac:spMkLst>
            <pc:docMk/>
            <pc:sldMk cId="3918490550" sldId="2147470805"/>
            <ac:spMk id="2" creationId="{918CB9FB-A912-DCB3-BE67-C6A1A87A92E5}"/>
          </ac:spMkLst>
        </pc:spChg>
        <pc:spChg chg="mod">
          <ac:chgData name="Zhu Arena, GFTIOV, BCOM" userId="a49f412c-db83-45d3-9142-dc597ff7d65b" providerId="ADAL" clId="{46FD2C16-79FF-4FFE-BCE3-742826F5B8DC}" dt="2023-06-15T08:00:17.167" v="4864" actId="790"/>
          <ac:spMkLst>
            <pc:docMk/>
            <pc:sldMk cId="3918490550" sldId="2147470805"/>
            <ac:spMk id="3" creationId="{D5AA98B2-907F-B168-A591-F840460B1F35}"/>
          </ac:spMkLst>
        </pc:spChg>
        <pc:spChg chg="add mod">
          <ac:chgData name="Zhu Arena, GFTIOV, BCOM" userId="a49f412c-db83-45d3-9142-dc597ff7d65b" providerId="ADAL" clId="{46FD2C16-79FF-4FFE-BCE3-742826F5B8DC}" dt="2023-06-16T03:36:03.611" v="6891" actId="207"/>
          <ac:spMkLst>
            <pc:docMk/>
            <pc:sldMk cId="3918490550" sldId="2147470805"/>
            <ac:spMk id="4" creationId="{876B536C-B18C-82FC-AB53-48215818C21A}"/>
          </ac:spMkLst>
        </pc:spChg>
        <pc:spChg chg="add mod">
          <ac:chgData name="Zhu Arena, GFTIOV, BCOM" userId="a49f412c-db83-45d3-9142-dc597ff7d65b" providerId="ADAL" clId="{46FD2C16-79FF-4FFE-BCE3-742826F5B8DC}" dt="2023-06-15T08:00:17.167" v="4871" actId="790"/>
          <ac:spMkLst>
            <pc:docMk/>
            <pc:sldMk cId="3918490550" sldId="2147470805"/>
            <ac:spMk id="5" creationId="{CD1EAFA0-4DF5-E349-F04C-ADF5D11317C1}"/>
          </ac:spMkLst>
        </pc:spChg>
        <pc:spChg chg="add mod">
          <ac:chgData name="Zhu Arena, GFTIOV, BCOM" userId="a49f412c-db83-45d3-9142-dc597ff7d65b" providerId="ADAL" clId="{46FD2C16-79FF-4FFE-BCE3-742826F5B8DC}" dt="2023-06-16T03:36:08.716" v="6892" actId="207"/>
          <ac:spMkLst>
            <pc:docMk/>
            <pc:sldMk cId="3918490550" sldId="2147470805"/>
            <ac:spMk id="6" creationId="{ED86BBA7-58B1-DB50-11C1-509A39EF2021}"/>
          </ac:spMkLst>
        </pc:spChg>
        <pc:spChg chg="add mod">
          <ac:chgData name="Zhu Arena, GFTIOV, BCOM" userId="a49f412c-db83-45d3-9142-dc597ff7d65b" providerId="ADAL" clId="{46FD2C16-79FF-4FFE-BCE3-742826F5B8DC}" dt="2023-06-16T03:36:13.097" v="6893" actId="207"/>
          <ac:spMkLst>
            <pc:docMk/>
            <pc:sldMk cId="3918490550" sldId="2147470805"/>
            <ac:spMk id="8" creationId="{C5454CED-9B49-711B-7B6E-47DD668EFC6C}"/>
          </ac:spMkLst>
        </pc:spChg>
        <pc:spChg chg="mod">
          <ac:chgData name="Zhu Arena, GFTIOV, BCOM" userId="a49f412c-db83-45d3-9142-dc597ff7d65b" providerId="ADAL" clId="{46FD2C16-79FF-4FFE-BCE3-742826F5B8DC}" dt="2023-06-15T08:00:17.167" v="4866" actId="790"/>
          <ac:spMkLst>
            <pc:docMk/>
            <pc:sldMk cId="3918490550" sldId="2147470805"/>
            <ac:spMk id="11" creationId="{60EC8356-91F6-D9EA-F36B-2C136102879E}"/>
          </ac:spMkLst>
        </pc:spChg>
        <pc:spChg chg="mod">
          <ac:chgData name="Zhu Arena, GFTIOV, BCOM" userId="a49f412c-db83-45d3-9142-dc597ff7d65b" providerId="ADAL" clId="{46FD2C16-79FF-4FFE-BCE3-742826F5B8DC}" dt="2023-06-15T08:00:17.167" v="4867" actId="790"/>
          <ac:spMkLst>
            <pc:docMk/>
            <pc:sldMk cId="3918490550" sldId="2147470805"/>
            <ac:spMk id="12" creationId="{6C4DD099-8C53-0118-076E-29336E420C37}"/>
          </ac:spMkLst>
        </pc:spChg>
        <pc:spChg chg="del">
          <ac:chgData name="Zhu Arena, GFTIOV, BCOM" userId="a49f412c-db83-45d3-9142-dc597ff7d65b" providerId="ADAL" clId="{46FD2C16-79FF-4FFE-BCE3-742826F5B8DC}" dt="2023-06-15T02:55:41.738" v="3156" actId="478"/>
          <ac:spMkLst>
            <pc:docMk/>
            <pc:sldMk cId="3918490550" sldId="2147470805"/>
            <ac:spMk id="13" creationId="{3E573E04-59AA-A9FB-9926-3C18BFEE6C25}"/>
          </ac:spMkLst>
        </pc:spChg>
        <pc:spChg chg="mod">
          <ac:chgData name="Zhu Arena, GFTIOV, BCOM" userId="a49f412c-db83-45d3-9142-dc597ff7d65b" providerId="ADAL" clId="{46FD2C16-79FF-4FFE-BCE3-742826F5B8DC}" dt="2023-06-15T08:00:17.167" v="4868" actId="790"/>
          <ac:spMkLst>
            <pc:docMk/>
            <pc:sldMk cId="3918490550" sldId="2147470805"/>
            <ac:spMk id="14" creationId="{411EB006-DA20-F7E7-C018-81FCAD7B9987}"/>
          </ac:spMkLst>
        </pc:spChg>
        <pc:spChg chg="del">
          <ac:chgData name="Zhu Arena, GFTIOV, BCOM" userId="a49f412c-db83-45d3-9142-dc597ff7d65b" providerId="ADAL" clId="{46FD2C16-79FF-4FFE-BCE3-742826F5B8DC}" dt="2023-06-15T02:55:43.289" v="3157" actId="478"/>
          <ac:spMkLst>
            <pc:docMk/>
            <pc:sldMk cId="3918490550" sldId="2147470805"/>
            <ac:spMk id="15" creationId="{C7782714-A87D-3343-B173-D6FCE86CCDFE}"/>
          </ac:spMkLst>
        </pc:spChg>
        <pc:spChg chg="mod">
          <ac:chgData name="Zhu Arena, GFTIOV, BCOM" userId="a49f412c-db83-45d3-9142-dc597ff7d65b" providerId="ADAL" clId="{46FD2C16-79FF-4FFE-BCE3-742826F5B8DC}" dt="2023-06-15T08:00:17.167" v="4869" actId="790"/>
          <ac:spMkLst>
            <pc:docMk/>
            <pc:sldMk cId="3918490550" sldId="2147470805"/>
            <ac:spMk id="16" creationId="{4FBEB030-F301-78AA-8CB1-006BAF0D6143}"/>
          </ac:spMkLst>
        </pc:spChg>
        <pc:spChg chg="del">
          <ac:chgData name="Zhu Arena, GFTIOV, BCOM" userId="a49f412c-db83-45d3-9142-dc597ff7d65b" providerId="ADAL" clId="{46FD2C16-79FF-4FFE-BCE3-742826F5B8DC}" dt="2023-06-15T06:18:48.100" v="3420" actId="478"/>
          <ac:spMkLst>
            <pc:docMk/>
            <pc:sldMk cId="3918490550" sldId="2147470805"/>
            <ac:spMk id="22" creationId="{A43A8922-B84E-7141-9CD8-7A38A2311920}"/>
          </ac:spMkLst>
        </pc:spChg>
        <pc:spChg chg="del">
          <ac:chgData name="Zhu Arena, GFTIOV, BCOM" userId="a49f412c-db83-45d3-9142-dc597ff7d65b" providerId="ADAL" clId="{46FD2C16-79FF-4FFE-BCE3-742826F5B8DC}" dt="2023-06-15T06:18:54.378" v="3424" actId="478"/>
          <ac:spMkLst>
            <pc:docMk/>
            <pc:sldMk cId="3918490550" sldId="2147470805"/>
            <ac:spMk id="23" creationId="{1785C0A6-A69D-7C44-FBE5-A973208DA410}"/>
          </ac:spMkLst>
        </pc:spChg>
        <pc:spChg chg="del">
          <ac:chgData name="Zhu Arena, GFTIOV, BCOM" userId="a49f412c-db83-45d3-9142-dc597ff7d65b" providerId="ADAL" clId="{46FD2C16-79FF-4FFE-BCE3-742826F5B8DC}" dt="2023-06-15T06:24:17.103" v="3435" actId="478"/>
          <ac:spMkLst>
            <pc:docMk/>
            <pc:sldMk cId="3918490550" sldId="2147470805"/>
            <ac:spMk id="27" creationId="{5B1CD3F0-B827-1137-9A28-EB00164791E9}"/>
          </ac:spMkLst>
        </pc:spChg>
        <pc:spChg chg="del topLvl">
          <ac:chgData name="Zhu Arena, GFTIOV, BCOM" userId="a49f412c-db83-45d3-9142-dc597ff7d65b" providerId="ADAL" clId="{46FD2C16-79FF-4FFE-BCE3-742826F5B8DC}" dt="2023-06-15T06:23:57.331" v="3430" actId="478"/>
          <ac:spMkLst>
            <pc:docMk/>
            <pc:sldMk cId="3918490550" sldId="2147470805"/>
            <ac:spMk id="30" creationId="{D0A0CFCC-727A-2ECA-062C-E68C2AFEB8CA}"/>
          </ac:spMkLst>
        </pc:spChg>
        <pc:spChg chg="del">
          <ac:chgData name="Zhu Arena, GFTIOV, BCOM" userId="a49f412c-db83-45d3-9142-dc597ff7d65b" providerId="ADAL" clId="{46FD2C16-79FF-4FFE-BCE3-742826F5B8DC}" dt="2023-06-15T06:24:19.952" v="3436" actId="478"/>
          <ac:spMkLst>
            <pc:docMk/>
            <pc:sldMk cId="3918490550" sldId="2147470805"/>
            <ac:spMk id="31" creationId="{45102D6B-3C97-38BB-B5F5-A8BAE802D8EA}"/>
          </ac:spMkLst>
        </pc:spChg>
        <pc:spChg chg="del">
          <ac:chgData name="Zhu Arena, GFTIOV, BCOM" userId="a49f412c-db83-45d3-9142-dc597ff7d65b" providerId="ADAL" clId="{46FD2C16-79FF-4FFE-BCE3-742826F5B8DC}" dt="2023-06-15T06:18:48.787" v="3421" actId="478"/>
          <ac:spMkLst>
            <pc:docMk/>
            <pc:sldMk cId="3918490550" sldId="2147470805"/>
            <ac:spMk id="35" creationId="{AC918B24-1DFE-11AB-99EE-20B66428845E}"/>
          </ac:spMkLst>
        </pc:spChg>
        <pc:spChg chg="del">
          <ac:chgData name="Zhu Arena, GFTIOV, BCOM" userId="a49f412c-db83-45d3-9142-dc597ff7d65b" providerId="ADAL" clId="{46FD2C16-79FF-4FFE-BCE3-742826F5B8DC}" dt="2023-06-15T06:19:00.167" v="3428" actId="478"/>
          <ac:spMkLst>
            <pc:docMk/>
            <pc:sldMk cId="3918490550" sldId="2147470805"/>
            <ac:spMk id="37" creationId="{A6993782-41FE-8D66-EFA0-84A958060356}"/>
          </ac:spMkLst>
        </pc:spChg>
        <pc:spChg chg="del topLvl">
          <ac:chgData name="Zhu Arena, GFTIOV, BCOM" userId="a49f412c-db83-45d3-9142-dc597ff7d65b" providerId="ADAL" clId="{46FD2C16-79FF-4FFE-BCE3-742826F5B8DC}" dt="2023-06-15T06:24:21.904" v="3437" actId="478"/>
          <ac:spMkLst>
            <pc:docMk/>
            <pc:sldMk cId="3918490550" sldId="2147470805"/>
            <ac:spMk id="47" creationId="{3FB76433-F6ED-C6E1-D53A-65271A603923}"/>
          </ac:spMkLst>
        </pc:spChg>
        <pc:spChg chg="del">
          <ac:chgData name="Zhu Arena, GFTIOV, BCOM" userId="a49f412c-db83-45d3-9142-dc597ff7d65b" providerId="ADAL" clId="{46FD2C16-79FF-4FFE-BCE3-742826F5B8DC}" dt="2023-06-15T06:18:50.951" v="3423" actId="478"/>
          <ac:spMkLst>
            <pc:docMk/>
            <pc:sldMk cId="3918490550" sldId="2147470805"/>
            <ac:spMk id="49" creationId="{3E2A9EB4-D008-46B9-FB45-84F37F118C17}"/>
          </ac:spMkLst>
        </pc:spChg>
        <pc:spChg chg="del mod">
          <ac:chgData name="Zhu Arena, GFTIOV, BCOM" userId="a49f412c-db83-45d3-9142-dc597ff7d65b" providerId="ADAL" clId="{46FD2C16-79FF-4FFE-BCE3-742826F5B8DC}" dt="2023-06-15T06:27:11.265" v="3509" actId="478"/>
          <ac:spMkLst>
            <pc:docMk/>
            <pc:sldMk cId="3918490550" sldId="2147470805"/>
            <ac:spMk id="51" creationId="{759C3BDD-D43D-0AA9-F0D1-3D8543DDB87F}"/>
          </ac:spMkLst>
        </pc:spChg>
        <pc:spChg chg="del mod">
          <ac:chgData name="Zhu Arena, GFTIOV, BCOM" userId="a49f412c-db83-45d3-9142-dc597ff7d65b" providerId="ADAL" clId="{46FD2C16-79FF-4FFE-BCE3-742826F5B8DC}" dt="2023-06-15T06:17:55.779" v="3415" actId="478"/>
          <ac:spMkLst>
            <pc:docMk/>
            <pc:sldMk cId="3918490550" sldId="2147470805"/>
            <ac:spMk id="52" creationId="{DB0A6A3D-BF16-C19B-27B8-18DF67D4A071}"/>
          </ac:spMkLst>
        </pc:spChg>
        <pc:spChg chg="del">
          <ac:chgData name="Zhu Arena, GFTIOV, BCOM" userId="a49f412c-db83-45d3-9142-dc597ff7d65b" providerId="ADAL" clId="{46FD2C16-79FF-4FFE-BCE3-742826F5B8DC}" dt="2023-06-15T02:55:35.563" v="3153" actId="478"/>
          <ac:spMkLst>
            <pc:docMk/>
            <pc:sldMk cId="3918490550" sldId="2147470805"/>
            <ac:spMk id="53" creationId="{98AED22F-F5DE-5C9F-2868-F3A0449B4A73}"/>
          </ac:spMkLst>
        </pc:spChg>
        <pc:spChg chg="del">
          <ac:chgData name="Zhu Arena, GFTIOV, BCOM" userId="a49f412c-db83-45d3-9142-dc597ff7d65b" providerId="ADAL" clId="{46FD2C16-79FF-4FFE-BCE3-742826F5B8DC}" dt="2023-06-15T06:25:16.445" v="3452" actId="478"/>
          <ac:spMkLst>
            <pc:docMk/>
            <pc:sldMk cId="3918490550" sldId="2147470805"/>
            <ac:spMk id="55" creationId="{BB06098F-5701-7999-C306-5EBA3F1EC3AE}"/>
          </ac:spMkLst>
        </pc:spChg>
        <pc:spChg chg="mod">
          <ac:chgData name="Zhu Arena, GFTIOV, BCOM" userId="a49f412c-db83-45d3-9142-dc597ff7d65b" providerId="ADAL" clId="{46FD2C16-79FF-4FFE-BCE3-742826F5B8DC}" dt="2023-06-15T08:00:17.167" v="4865" actId="790"/>
          <ac:spMkLst>
            <pc:docMk/>
            <pc:sldMk cId="3918490550" sldId="2147470805"/>
            <ac:spMk id="62" creationId="{7C641265-E6E4-03BC-F6D3-070B187D05E8}"/>
          </ac:spMkLst>
        </pc:spChg>
        <pc:spChg chg="add mod">
          <ac:chgData name="Zhu Arena, GFTIOV, BCOM" userId="a49f412c-db83-45d3-9142-dc597ff7d65b" providerId="ADAL" clId="{46FD2C16-79FF-4FFE-BCE3-742826F5B8DC}" dt="2023-06-15T06:31:18.697" v="3611" actId="255"/>
          <ac:spMkLst>
            <pc:docMk/>
            <pc:sldMk cId="3918490550" sldId="2147470805"/>
            <ac:spMk id="64" creationId="{DD7E68AA-91EA-21EC-5D23-FD34883523F0}"/>
          </ac:spMkLst>
        </pc:spChg>
        <pc:spChg chg="add mod">
          <ac:chgData name="Zhu Arena, GFTIOV, BCOM" userId="a49f412c-db83-45d3-9142-dc597ff7d65b" providerId="ADAL" clId="{46FD2C16-79FF-4FFE-BCE3-742826F5B8DC}" dt="2023-06-15T06:31:18.697" v="3611" actId="255"/>
          <ac:spMkLst>
            <pc:docMk/>
            <pc:sldMk cId="3918490550" sldId="2147470805"/>
            <ac:spMk id="65" creationId="{6150F521-A218-4947-E060-C114AF231E35}"/>
          </ac:spMkLst>
        </pc:spChg>
        <pc:spChg chg="mod">
          <ac:chgData name="Zhu Arena, GFTIOV, BCOM" userId="a49f412c-db83-45d3-9142-dc597ff7d65b" providerId="ADAL" clId="{46FD2C16-79FF-4FFE-BCE3-742826F5B8DC}" dt="2023-06-15T10:17:23.747" v="6086" actId="20577"/>
          <ac:spMkLst>
            <pc:docMk/>
            <pc:sldMk cId="3918490550" sldId="2147470805"/>
            <ac:spMk id="66" creationId="{A25D7BF7-63BC-FA1C-A32D-77B400E20FCF}"/>
          </ac:spMkLst>
        </pc:spChg>
        <pc:spChg chg="del">
          <ac:chgData name="Zhu Arena, GFTIOV, BCOM" userId="a49f412c-db83-45d3-9142-dc597ff7d65b" providerId="ADAL" clId="{46FD2C16-79FF-4FFE-BCE3-742826F5B8DC}" dt="2023-06-15T06:24:34.826" v="3445" actId="478"/>
          <ac:spMkLst>
            <pc:docMk/>
            <pc:sldMk cId="3918490550" sldId="2147470805"/>
            <ac:spMk id="68" creationId="{03C4372F-E3E8-2D63-8048-5A57A2FC7D41}"/>
          </ac:spMkLst>
        </pc:spChg>
        <pc:spChg chg="del">
          <ac:chgData name="Zhu Arena, GFTIOV, BCOM" userId="a49f412c-db83-45d3-9142-dc597ff7d65b" providerId="ADAL" clId="{46FD2C16-79FF-4FFE-BCE3-742826F5B8DC}" dt="2023-06-15T06:18:56.933" v="3426" actId="478"/>
          <ac:spMkLst>
            <pc:docMk/>
            <pc:sldMk cId="3918490550" sldId="2147470805"/>
            <ac:spMk id="69" creationId="{F30D72DA-8E46-63AC-4476-43B3837F8B84}"/>
          </ac:spMkLst>
        </pc:spChg>
        <pc:spChg chg="del">
          <ac:chgData name="Zhu Arena, GFTIOV, BCOM" userId="a49f412c-db83-45d3-9142-dc597ff7d65b" providerId="ADAL" clId="{46FD2C16-79FF-4FFE-BCE3-742826F5B8DC}" dt="2023-06-15T06:24:29.177" v="3442" actId="478"/>
          <ac:spMkLst>
            <pc:docMk/>
            <pc:sldMk cId="3918490550" sldId="2147470805"/>
            <ac:spMk id="70" creationId="{78434885-27FF-E534-1F85-2883970FFDDA}"/>
          </ac:spMkLst>
        </pc:spChg>
        <pc:spChg chg="del">
          <ac:chgData name="Zhu Arena, GFTIOV, BCOM" userId="a49f412c-db83-45d3-9142-dc597ff7d65b" providerId="ADAL" clId="{46FD2C16-79FF-4FFE-BCE3-742826F5B8DC}" dt="2023-06-15T06:24:30.939" v="3443" actId="478"/>
          <ac:spMkLst>
            <pc:docMk/>
            <pc:sldMk cId="3918490550" sldId="2147470805"/>
            <ac:spMk id="71" creationId="{FD8B965C-11C7-68DA-261E-BDA8AC3FA8C8}"/>
          </ac:spMkLst>
        </pc:spChg>
        <pc:spChg chg="add mod">
          <ac:chgData name="Zhu Arena, GFTIOV, BCOM" userId="a49f412c-db83-45d3-9142-dc597ff7d65b" providerId="ADAL" clId="{46FD2C16-79FF-4FFE-BCE3-742826F5B8DC}" dt="2023-06-15T06:31:18.697" v="3611" actId="255"/>
          <ac:spMkLst>
            <pc:docMk/>
            <pc:sldMk cId="3918490550" sldId="2147470805"/>
            <ac:spMk id="72" creationId="{B1AE6003-B7E1-B195-EA3E-1DF3A1E05073}"/>
          </ac:spMkLst>
        </pc:spChg>
        <pc:spChg chg="add mod">
          <ac:chgData name="Zhu Arena, GFTIOV, BCOM" userId="a49f412c-db83-45d3-9142-dc597ff7d65b" providerId="ADAL" clId="{46FD2C16-79FF-4FFE-BCE3-742826F5B8DC}" dt="2023-06-15T06:31:18.697" v="3611" actId="255"/>
          <ac:spMkLst>
            <pc:docMk/>
            <pc:sldMk cId="3918490550" sldId="2147470805"/>
            <ac:spMk id="73" creationId="{7BB28BF6-60DB-5301-EB24-075F9057B7D4}"/>
          </ac:spMkLst>
        </pc:spChg>
        <pc:spChg chg="add mod">
          <ac:chgData name="Zhu Arena, GFTIOV, BCOM" userId="a49f412c-db83-45d3-9142-dc597ff7d65b" providerId="ADAL" clId="{46FD2C16-79FF-4FFE-BCE3-742826F5B8DC}" dt="2023-06-15T06:31:18.697" v="3611" actId="255"/>
          <ac:spMkLst>
            <pc:docMk/>
            <pc:sldMk cId="3918490550" sldId="2147470805"/>
            <ac:spMk id="74" creationId="{95CC77A3-74FE-A0D1-7B75-6C6B389DFE58}"/>
          </ac:spMkLst>
        </pc:spChg>
        <pc:spChg chg="add mod">
          <ac:chgData name="Zhu Arena, GFTIOV, BCOM" userId="a49f412c-db83-45d3-9142-dc597ff7d65b" providerId="ADAL" clId="{46FD2C16-79FF-4FFE-BCE3-742826F5B8DC}" dt="2023-06-15T06:31:18.697" v="3611" actId="255"/>
          <ac:spMkLst>
            <pc:docMk/>
            <pc:sldMk cId="3918490550" sldId="2147470805"/>
            <ac:spMk id="75" creationId="{775C3007-4DB1-AB0B-3E51-ED19E49E1EB6}"/>
          </ac:spMkLst>
        </pc:spChg>
        <pc:spChg chg="add mod">
          <ac:chgData name="Zhu Arena, GFTIOV, BCOM" userId="a49f412c-db83-45d3-9142-dc597ff7d65b" providerId="ADAL" clId="{46FD2C16-79FF-4FFE-BCE3-742826F5B8DC}" dt="2023-06-15T06:31:18.697" v="3611" actId="255"/>
          <ac:spMkLst>
            <pc:docMk/>
            <pc:sldMk cId="3918490550" sldId="2147470805"/>
            <ac:spMk id="76" creationId="{7CB44CC3-31C9-4D00-30EB-423E61E0B38C}"/>
          </ac:spMkLst>
        </pc:spChg>
        <pc:spChg chg="add mod">
          <ac:chgData name="Zhu Arena, GFTIOV, BCOM" userId="a49f412c-db83-45d3-9142-dc597ff7d65b" providerId="ADAL" clId="{46FD2C16-79FF-4FFE-BCE3-742826F5B8DC}" dt="2023-06-15T06:31:18.697" v="3611" actId="255"/>
          <ac:spMkLst>
            <pc:docMk/>
            <pc:sldMk cId="3918490550" sldId="2147470805"/>
            <ac:spMk id="77" creationId="{89BE8B0F-DE2D-F9C6-BEA1-7FAF26828995}"/>
          </ac:spMkLst>
        </pc:spChg>
        <pc:spChg chg="add mod">
          <ac:chgData name="Zhu Arena, GFTIOV, BCOM" userId="a49f412c-db83-45d3-9142-dc597ff7d65b" providerId="ADAL" clId="{46FD2C16-79FF-4FFE-BCE3-742826F5B8DC}" dt="2023-06-15T06:31:18.697" v="3611" actId="255"/>
          <ac:spMkLst>
            <pc:docMk/>
            <pc:sldMk cId="3918490550" sldId="2147470805"/>
            <ac:spMk id="78" creationId="{8308EC0E-9BF9-D31D-9F22-F0B4827B092A}"/>
          </ac:spMkLst>
        </pc:spChg>
        <pc:spChg chg="add mod">
          <ac:chgData name="Zhu Arena, GFTIOV, BCOM" userId="a49f412c-db83-45d3-9142-dc597ff7d65b" providerId="ADAL" clId="{46FD2C16-79FF-4FFE-BCE3-742826F5B8DC}" dt="2023-06-15T06:31:18.697" v="3611" actId="255"/>
          <ac:spMkLst>
            <pc:docMk/>
            <pc:sldMk cId="3918490550" sldId="2147470805"/>
            <ac:spMk id="82" creationId="{1695949A-D0B1-39B7-D8E1-943FDFC34695}"/>
          </ac:spMkLst>
        </pc:spChg>
        <pc:spChg chg="add mod">
          <ac:chgData name="Zhu Arena, GFTIOV, BCOM" userId="a49f412c-db83-45d3-9142-dc597ff7d65b" providerId="ADAL" clId="{46FD2C16-79FF-4FFE-BCE3-742826F5B8DC}" dt="2023-06-15T06:31:18.697" v="3611" actId="255"/>
          <ac:spMkLst>
            <pc:docMk/>
            <pc:sldMk cId="3918490550" sldId="2147470805"/>
            <ac:spMk id="83" creationId="{0F8291BD-895B-FD75-C9FF-015BD5BFA6F7}"/>
          </ac:spMkLst>
        </pc:spChg>
        <pc:spChg chg="add mod">
          <ac:chgData name="Zhu Arena, GFTIOV, BCOM" userId="a49f412c-db83-45d3-9142-dc597ff7d65b" providerId="ADAL" clId="{46FD2C16-79FF-4FFE-BCE3-742826F5B8DC}" dt="2023-06-15T06:31:18.697" v="3611" actId="255"/>
          <ac:spMkLst>
            <pc:docMk/>
            <pc:sldMk cId="3918490550" sldId="2147470805"/>
            <ac:spMk id="84" creationId="{7D6415ED-D94D-A2E8-2A5E-C71634FAA7A0}"/>
          </ac:spMkLst>
        </pc:spChg>
        <pc:spChg chg="add mod">
          <ac:chgData name="Zhu Arena, GFTIOV, BCOM" userId="a49f412c-db83-45d3-9142-dc597ff7d65b" providerId="ADAL" clId="{46FD2C16-79FF-4FFE-BCE3-742826F5B8DC}" dt="2023-06-15T06:31:18.697" v="3611" actId="255"/>
          <ac:spMkLst>
            <pc:docMk/>
            <pc:sldMk cId="3918490550" sldId="2147470805"/>
            <ac:spMk id="85" creationId="{F8D92D45-6C3D-8E28-511C-EB0F64419748}"/>
          </ac:spMkLst>
        </pc:spChg>
        <pc:spChg chg="add mod">
          <ac:chgData name="Zhu Arena, GFTIOV, BCOM" userId="a49f412c-db83-45d3-9142-dc597ff7d65b" providerId="ADAL" clId="{46FD2C16-79FF-4FFE-BCE3-742826F5B8DC}" dt="2023-06-15T06:31:18.697" v="3611" actId="255"/>
          <ac:spMkLst>
            <pc:docMk/>
            <pc:sldMk cId="3918490550" sldId="2147470805"/>
            <ac:spMk id="91" creationId="{E8BFF993-2801-5317-154B-3DF6660ADB4E}"/>
          </ac:spMkLst>
        </pc:spChg>
        <pc:spChg chg="add mod">
          <ac:chgData name="Zhu Arena, GFTIOV, BCOM" userId="a49f412c-db83-45d3-9142-dc597ff7d65b" providerId="ADAL" clId="{46FD2C16-79FF-4FFE-BCE3-742826F5B8DC}" dt="2023-06-15T06:31:18.697" v="3611" actId="255"/>
          <ac:spMkLst>
            <pc:docMk/>
            <pc:sldMk cId="3918490550" sldId="2147470805"/>
            <ac:spMk id="92" creationId="{8B59AAF0-16AF-CAB6-2DE2-520270782D6B}"/>
          </ac:spMkLst>
        </pc:spChg>
        <pc:spChg chg="add mod">
          <ac:chgData name="Zhu Arena, GFTIOV, BCOM" userId="a49f412c-db83-45d3-9142-dc597ff7d65b" providerId="ADAL" clId="{46FD2C16-79FF-4FFE-BCE3-742826F5B8DC}" dt="2023-06-15T06:31:18.697" v="3611" actId="255"/>
          <ac:spMkLst>
            <pc:docMk/>
            <pc:sldMk cId="3918490550" sldId="2147470805"/>
            <ac:spMk id="93" creationId="{C655CB76-D2CB-13FB-EE50-10824AA3AD32}"/>
          </ac:spMkLst>
        </pc:spChg>
        <pc:spChg chg="add mod">
          <ac:chgData name="Zhu Arena, GFTIOV, BCOM" userId="a49f412c-db83-45d3-9142-dc597ff7d65b" providerId="ADAL" clId="{46FD2C16-79FF-4FFE-BCE3-742826F5B8DC}" dt="2023-06-15T06:31:18.697" v="3611" actId="255"/>
          <ac:spMkLst>
            <pc:docMk/>
            <pc:sldMk cId="3918490550" sldId="2147470805"/>
            <ac:spMk id="94" creationId="{B83E0D5E-B0F2-1C11-DD36-3CE2B181287A}"/>
          </ac:spMkLst>
        </pc:spChg>
        <pc:spChg chg="add mod">
          <ac:chgData name="Zhu Arena, GFTIOV, BCOM" userId="a49f412c-db83-45d3-9142-dc597ff7d65b" providerId="ADAL" clId="{46FD2C16-79FF-4FFE-BCE3-742826F5B8DC}" dt="2023-06-15T06:31:18.697" v="3611" actId="255"/>
          <ac:spMkLst>
            <pc:docMk/>
            <pc:sldMk cId="3918490550" sldId="2147470805"/>
            <ac:spMk id="100" creationId="{F6A60445-AC93-8432-986C-F9811B2067B5}"/>
          </ac:spMkLst>
        </pc:spChg>
        <pc:spChg chg="add mod">
          <ac:chgData name="Zhu Arena, GFTIOV, BCOM" userId="a49f412c-db83-45d3-9142-dc597ff7d65b" providerId="ADAL" clId="{46FD2C16-79FF-4FFE-BCE3-742826F5B8DC}" dt="2023-06-15T06:31:18.697" v="3611" actId="255"/>
          <ac:spMkLst>
            <pc:docMk/>
            <pc:sldMk cId="3918490550" sldId="2147470805"/>
            <ac:spMk id="106" creationId="{7C8FC359-FA09-50A4-AC12-C79726729AE9}"/>
          </ac:spMkLst>
        </pc:spChg>
        <pc:spChg chg="add mod">
          <ac:chgData name="Zhu Arena, GFTIOV, BCOM" userId="a49f412c-db83-45d3-9142-dc597ff7d65b" providerId="ADAL" clId="{46FD2C16-79FF-4FFE-BCE3-742826F5B8DC}" dt="2023-06-15T06:31:18.697" v="3611" actId="255"/>
          <ac:spMkLst>
            <pc:docMk/>
            <pc:sldMk cId="3918490550" sldId="2147470805"/>
            <ac:spMk id="107" creationId="{E5C6B621-3124-4E77-F32E-9A27A3E28914}"/>
          </ac:spMkLst>
        </pc:spChg>
        <pc:spChg chg="add mod">
          <ac:chgData name="Zhu Arena, GFTIOV, BCOM" userId="a49f412c-db83-45d3-9142-dc597ff7d65b" providerId="ADAL" clId="{46FD2C16-79FF-4FFE-BCE3-742826F5B8DC}" dt="2023-06-15T06:31:18.697" v="3611" actId="255"/>
          <ac:spMkLst>
            <pc:docMk/>
            <pc:sldMk cId="3918490550" sldId="2147470805"/>
            <ac:spMk id="108" creationId="{FBDF594A-3044-0D07-9D6D-456C22B2FDFA}"/>
          </ac:spMkLst>
        </pc:spChg>
        <pc:spChg chg="add mod">
          <ac:chgData name="Zhu Arena, GFTIOV, BCOM" userId="a49f412c-db83-45d3-9142-dc597ff7d65b" providerId="ADAL" clId="{46FD2C16-79FF-4FFE-BCE3-742826F5B8DC}" dt="2023-06-15T06:31:18.697" v="3611" actId="255"/>
          <ac:spMkLst>
            <pc:docMk/>
            <pc:sldMk cId="3918490550" sldId="2147470805"/>
            <ac:spMk id="114" creationId="{17EDEA1F-ACB8-7536-0D5C-01E8887B186A}"/>
          </ac:spMkLst>
        </pc:spChg>
        <pc:spChg chg="add mod">
          <ac:chgData name="Zhu Arena, GFTIOV, BCOM" userId="a49f412c-db83-45d3-9142-dc597ff7d65b" providerId="ADAL" clId="{46FD2C16-79FF-4FFE-BCE3-742826F5B8DC}" dt="2023-06-15T06:31:18.697" v="3611" actId="255"/>
          <ac:spMkLst>
            <pc:docMk/>
            <pc:sldMk cId="3918490550" sldId="2147470805"/>
            <ac:spMk id="115" creationId="{4760ECDC-183B-357A-7CEC-02B32CF3C1CE}"/>
          </ac:spMkLst>
        </pc:spChg>
        <pc:spChg chg="add mod">
          <ac:chgData name="Zhu Arena, GFTIOV, BCOM" userId="a49f412c-db83-45d3-9142-dc597ff7d65b" providerId="ADAL" clId="{46FD2C16-79FF-4FFE-BCE3-742826F5B8DC}" dt="2023-06-15T06:31:18.697" v="3611" actId="255"/>
          <ac:spMkLst>
            <pc:docMk/>
            <pc:sldMk cId="3918490550" sldId="2147470805"/>
            <ac:spMk id="116" creationId="{6944F77F-F4B2-9BD2-7084-F4F1C5D6FB2B}"/>
          </ac:spMkLst>
        </pc:spChg>
        <pc:spChg chg="add del mod">
          <ac:chgData name="Zhu Arena, GFTIOV, BCOM" userId="a49f412c-db83-45d3-9142-dc597ff7d65b" providerId="ADAL" clId="{46FD2C16-79FF-4FFE-BCE3-742826F5B8DC}" dt="2023-06-15T07:32:43.368" v="4573" actId="478"/>
          <ac:spMkLst>
            <pc:docMk/>
            <pc:sldMk cId="3918490550" sldId="2147470805"/>
            <ac:spMk id="125" creationId="{61BE924D-F4FA-8EA6-9914-22DF5C5C98DA}"/>
          </ac:spMkLst>
        </pc:spChg>
        <pc:spChg chg="add del mod">
          <ac:chgData name="Zhu Arena, GFTIOV, BCOM" userId="a49f412c-db83-45d3-9142-dc597ff7d65b" providerId="ADAL" clId="{46FD2C16-79FF-4FFE-BCE3-742826F5B8DC}" dt="2023-06-15T06:53:05.887" v="3741" actId="478"/>
          <ac:spMkLst>
            <pc:docMk/>
            <pc:sldMk cId="3918490550" sldId="2147470805"/>
            <ac:spMk id="126" creationId="{5D42408E-DDEB-1408-D2C9-305DD8E8D65E}"/>
          </ac:spMkLst>
        </pc:spChg>
        <pc:spChg chg="add del mod">
          <ac:chgData name="Zhu Arena, GFTIOV, BCOM" userId="a49f412c-db83-45d3-9142-dc597ff7d65b" providerId="ADAL" clId="{46FD2C16-79FF-4FFE-BCE3-742826F5B8DC}" dt="2023-06-15T07:30:35.939" v="4555" actId="478"/>
          <ac:spMkLst>
            <pc:docMk/>
            <pc:sldMk cId="3918490550" sldId="2147470805"/>
            <ac:spMk id="128" creationId="{E4DE4908-BE23-E7BA-668D-A589E4F7663E}"/>
          </ac:spMkLst>
        </pc:spChg>
        <pc:spChg chg="add del mod">
          <ac:chgData name="Zhu Arena, GFTIOV, BCOM" userId="a49f412c-db83-45d3-9142-dc597ff7d65b" providerId="ADAL" clId="{46FD2C16-79FF-4FFE-BCE3-742826F5B8DC}" dt="2023-06-15T06:53:11.230" v="3742" actId="478"/>
          <ac:spMkLst>
            <pc:docMk/>
            <pc:sldMk cId="3918490550" sldId="2147470805"/>
            <ac:spMk id="129" creationId="{89BB8BEB-AB7A-EFE8-CDD8-59AC9E69833D}"/>
          </ac:spMkLst>
        </pc:spChg>
        <pc:spChg chg="add mod ord">
          <ac:chgData name="Zhu Arena, GFTIOV, BCOM" userId="a49f412c-db83-45d3-9142-dc597ff7d65b" providerId="ADAL" clId="{46FD2C16-79FF-4FFE-BCE3-742826F5B8DC}" dt="2023-06-15T08:00:17.189" v="4893" actId="790"/>
          <ac:spMkLst>
            <pc:docMk/>
            <pc:sldMk cId="3918490550" sldId="2147470805"/>
            <ac:spMk id="130" creationId="{EAFB92ED-2E35-DA9C-8D9F-E00E3E49B474}"/>
          </ac:spMkLst>
        </pc:spChg>
        <pc:spChg chg="add mod ord">
          <ac:chgData name="Zhu Arena, GFTIOV, BCOM" userId="a49f412c-db83-45d3-9142-dc597ff7d65b" providerId="ADAL" clId="{46FD2C16-79FF-4FFE-BCE3-742826F5B8DC}" dt="2023-06-15T08:00:17.189" v="4892" actId="790"/>
          <ac:spMkLst>
            <pc:docMk/>
            <pc:sldMk cId="3918490550" sldId="2147470805"/>
            <ac:spMk id="132" creationId="{59EBC95E-4BDE-756F-3104-4926F9BAB6A6}"/>
          </ac:spMkLst>
        </pc:spChg>
        <pc:spChg chg="add mod ord">
          <ac:chgData name="Zhu Arena, GFTIOV, BCOM" userId="a49f412c-db83-45d3-9142-dc597ff7d65b" providerId="ADAL" clId="{46FD2C16-79FF-4FFE-BCE3-742826F5B8DC}" dt="2023-06-15T08:00:17.180" v="4889" actId="790"/>
          <ac:spMkLst>
            <pc:docMk/>
            <pc:sldMk cId="3918490550" sldId="2147470805"/>
            <ac:spMk id="133" creationId="{EF705051-E3F3-57F5-666A-22F64450D8D6}"/>
          </ac:spMkLst>
        </pc:spChg>
        <pc:spChg chg="add del mod">
          <ac:chgData name="Zhu Arena, GFTIOV, BCOM" userId="a49f412c-db83-45d3-9142-dc597ff7d65b" providerId="ADAL" clId="{46FD2C16-79FF-4FFE-BCE3-742826F5B8DC}" dt="2023-06-15T06:39:54.512" v="3711" actId="478"/>
          <ac:spMkLst>
            <pc:docMk/>
            <pc:sldMk cId="3918490550" sldId="2147470805"/>
            <ac:spMk id="134" creationId="{BFB44873-6D00-1D1D-50DF-B5220D4CD851}"/>
          </ac:spMkLst>
        </pc:spChg>
        <pc:spChg chg="mod">
          <ac:chgData name="Zhu Arena, GFTIOV, BCOM" userId="a49f412c-db83-45d3-9142-dc597ff7d65b" providerId="ADAL" clId="{46FD2C16-79FF-4FFE-BCE3-742826F5B8DC}" dt="2023-06-15T08:00:17.175" v="4873" actId="790"/>
          <ac:spMkLst>
            <pc:docMk/>
            <pc:sldMk cId="3918490550" sldId="2147470805"/>
            <ac:spMk id="141" creationId="{FC6C150C-0AE1-F3DA-E589-7B27D4AD3551}"/>
          </ac:spMkLst>
        </pc:spChg>
        <pc:spChg chg="del mod topLvl">
          <ac:chgData name="Zhu Arena, GFTIOV, BCOM" userId="a49f412c-db83-45d3-9142-dc597ff7d65b" providerId="ADAL" clId="{46FD2C16-79FF-4FFE-BCE3-742826F5B8DC}" dt="2023-06-15T06:45:00.115" v="3719" actId="478"/>
          <ac:spMkLst>
            <pc:docMk/>
            <pc:sldMk cId="3918490550" sldId="2147470805"/>
            <ac:spMk id="144" creationId="{25244EF3-0D58-6E4B-25AC-A76A2483395A}"/>
          </ac:spMkLst>
        </pc:spChg>
        <pc:spChg chg="del mod">
          <ac:chgData name="Zhu Arena, GFTIOV, BCOM" userId="a49f412c-db83-45d3-9142-dc597ff7d65b" providerId="ADAL" clId="{46FD2C16-79FF-4FFE-BCE3-742826F5B8DC}" dt="2023-06-15T06:44:56.373" v="3718" actId="478"/>
          <ac:spMkLst>
            <pc:docMk/>
            <pc:sldMk cId="3918490550" sldId="2147470805"/>
            <ac:spMk id="147" creationId="{5F39078B-261F-629A-2E10-70E000C9759C}"/>
          </ac:spMkLst>
        </pc:spChg>
        <pc:spChg chg="mod">
          <ac:chgData name="Zhu Arena, GFTIOV, BCOM" userId="a49f412c-db83-45d3-9142-dc597ff7d65b" providerId="ADAL" clId="{46FD2C16-79FF-4FFE-BCE3-742826F5B8DC}" dt="2023-06-15T08:00:17.175" v="4874" actId="790"/>
          <ac:spMkLst>
            <pc:docMk/>
            <pc:sldMk cId="3918490550" sldId="2147470805"/>
            <ac:spMk id="152" creationId="{F9000E80-755B-ED93-DEE9-E8494FCA843B}"/>
          </ac:spMkLst>
        </pc:spChg>
        <pc:spChg chg="add mod">
          <ac:chgData name="Zhu Arena, GFTIOV, BCOM" userId="a49f412c-db83-45d3-9142-dc597ff7d65b" providerId="ADAL" clId="{46FD2C16-79FF-4FFE-BCE3-742826F5B8DC}" dt="2023-06-15T08:00:17.175" v="4875" actId="790"/>
          <ac:spMkLst>
            <pc:docMk/>
            <pc:sldMk cId="3918490550" sldId="2147470805"/>
            <ac:spMk id="154" creationId="{91BE19A7-AC79-8959-CA7F-2546E4055B4D}"/>
          </ac:spMkLst>
        </pc:spChg>
        <pc:spChg chg="add mod ord">
          <ac:chgData name="Zhu Arena, GFTIOV, BCOM" userId="a49f412c-db83-45d3-9142-dc597ff7d65b" providerId="ADAL" clId="{46FD2C16-79FF-4FFE-BCE3-742826F5B8DC}" dt="2023-06-15T08:00:17.180" v="4890" actId="790"/>
          <ac:spMkLst>
            <pc:docMk/>
            <pc:sldMk cId="3918490550" sldId="2147470805"/>
            <ac:spMk id="155" creationId="{1D45D917-8F5F-FA28-9B6C-7B759019F335}"/>
          </ac:spMkLst>
        </pc:spChg>
        <pc:spChg chg="add mod ord">
          <ac:chgData name="Zhu Arena, GFTIOV, BCOM" userId="a49f412c-db83-45d3-9142-dc597ff7d65b" providerId="ADAL" clId="{46FD2C16-79FF-4FFE-BCE3-742826F5B8DC}" dt="2023-06-15T08:00:17.180" v="4891" actId="790"/>
          <ac:spMkLst>
            <pc:docMk/>
            <pc:sldMk cId="3918490550" sldId="2147470805"/>
            <ac:spMk id="164" creationId="{747CF627-CD81-7626-862A-FE1EAEEFA642}"/>
          </ac:spMkLst>
        </pc:spChg>
        <pc:spChg chg="add del mod">
          <ac:chgData name="Zhu Arena, GFTIOV, BCOM" userId="a49f412c-db83-45d3-9142-dc597ff7d65b" providerId="ADAL" clId="{46FD2C16-79FF-4FFE-BCE3-742826F5B8DC}" dt="2023-06-15T07:30:15.289" v="4552" actId="478"/>
          <ac:spMkLst>
            <pc:docMk/>
            <pc:sldMk cId="3918490550" sldId="2147470805"/>
            <ac:spMk id="165" creationId="{25A1A68C-5932-6310-853C-60CFDB5A90FF}"/>
          </ac:spMkLst>
        </pc:spChg>
        <pc:spChg chg="add mod">
          <ac:chgData name="Zhu Arena, GFTIOV, BCOM" userId="a49f412c-db83-45d3-9142-dc597ff7d65b" providerId="ADAL" clId="{46FD2C16-79FF-4FFE-BCE3-742826F5B8DC}" dt="2023-06-15T08:00:17.175" v="4876" actId="790"/>
          <ac:spMkLst>
            <pc:docMk/>
            <pc:sldMk cId="3918490550" sldId="2147470805"/>
            <ac:spMk id="166" creationId="{6C2B4062-C5EC-D27A-96E5-EAC559F1F03C}"/>
          </ac:spMkLst>
        </pc:spChg>
        <pc:spChg chg="add mod ord">
          <ac:chgData name="Zhu Arena, GFTIOV, BCOM" userId="a49f412c-db83-45d3-9142-dc597ff7d65b" providerId="ADAL" clId="{46FD2C16-79FF-4FFE-BCE3-742826F5B8DC}" dt="2023-06-15T08:00:17.189" v="4896" actId="790"/>
          <ac:spMkLst>
            <pc:docMk/>
            <pc:sldMk cId="3918490550" sldId="2147470805"/>
            <ac:spMk id="167" creationId="{5C105D7C-0F5B-D104-FC9F-CDE1DDEB57B3}"/>
          </ac:spMkLst>
        </pc:spChg>
        <pc:spChg chg="add mod">
          <ac:chgData name="Zhu Arena, GFTIOV, BCOM" userId="a49f412c-db83-45d3-9142-dc597ff7d65b" providerId="ADAL" clId="{46FD2C16-79FF-4FFE-BCE3-742826F5B8DC}" dt="2023-06-15T08:00:17.175" v="4877" actId="790"/>
          <ac:spMkLst>
            <pc:docMk/>
            <pc:sldMk cId="3918490550" sldId="2147470805"/>
            <ac:spMk id="169" creationId="{0A5C1F75-2EBF-D445-D3DB-752B7D71D1AF}"/>
          </ac:spMkLst>
        </pc:spChg>
        <pc:spChg chg="add mod">
          <ac:chgData name="Zhu Arena, GFTIOV, BCOM" userId="a49f412c-db83-45d3-9142-dc597ff7d65b" providerId="ADAL" clId="{46FD2C16-79FF-4FFE-BCE3-742826F5B8DC}" dt="2023-06-15T08:00:17.175" v="4878" actId="790"/>
          <ac:spMkLst>
            <pc:docMk/>
            <pc:sldMk cId="3918490550" sldId="2147470805"/>
            <ac:spMk id="171" creationId="{7B231B7C-8A3E-C3C6-1362-E33413AF8D60}"/>
          </ac:spMkLst>
        </pc:spChg>
        <pc:spChg chg="add mod">
          <ac:chgData name="Zhu Arena, GFTIOV, BCOM" userId="a49f412c-db83-45d3-9142-dc597ff7d65b" providerId="ADAL" clId="{46FD2C16-79FF-4FFE-BCE3-742826F5B8DC}" dt="2023-06-15T08:00:17.175" v="4879" actId="790"/>
          <ac:spMkLst>
            <pc:docMk/>
            <pc:sldMk cId="3918490550" sldId="2147470805"/>
            <ac:spMk id="174" creationId="{8759DA9D-B89D-E145-DDB8-1375FCE4A97A}"/>
          </ac:spMkLst>
        </pc:spChg>
        <pc:spChg chg="add mod">
          <ac:chgData name="Zhu Arena, GFTIOV, BCOM" userId="a49f412c-db83-45d3-9142-dc597ff7d65b" providerId="ADAL" clId="{46FD2C16-79FF-4FFE-BCE3-742826F5B8DC}" dt="2023-06-15T08:00:17.180" v="4880" actId="790"/>
          <ac:spMkLst>
            <pc:docMk/>
            <pc:sldMk cId="3918490550" sldId="2147470805"/>
            <ac:spMk id="177" creationId="{EA663449-8149-B712-DCF1-283CC1005148}"/>
          </ac:spMkLst>
        </pc:spChg>
        <pc:spChg chg="add mod">
          <ac:chgData name="Zhu Arena, GFTIOV, BCOM" userId="a49f412c-db83-45d3-9142-dc597ff7d65b" providerId="ADAL" clId="{46FD2C16-79FF-4FFE-BCE3-742826F5B8DC}" dt="2023-06-15T08:00:17.180" v="4881" actId="790"/>
          <ac:spMkLst>
            <pc:docMk/>
            <pc:sldMk cId="3918490550" sldId="2147470805"/>
            <ac:spMk id="178" creationId="{2B0C96AB-98A3-62E3-4246-8AE3C100EC41}"/>
          </ac:spMkLst>
        </pc:spChg>
        <pc:spChg chg="add mod">
          <ac:chgData name="Zhu Arena, GFTIOV, BCOM" userId="a49f412c-db83-45d3-9142-dc597ff7d65b" providerId="ADAL" clId="{46FD2C16-79FF-4FFE-BCE3-742826F5B8DC}" dt="2023-06-15T08:00:17.180" v="4882" actId="790"/>
          <ac:spMkLst>
            <pc:docMk/>
            <pc:sldMk cId="3918490550" sldId="2147470805"/>
            <ac:spMk id="179" creationId="{8A04BC60-50CB-2D7F-DB92-5D41E80C6B96}"/>
          </ac:spMkLst>
        </pc:spChg>
        <pc:spChg chg="add del mod">
          <ac:chgData name="Zhu Arena, GFTIOV, BCOM" userId="a49f412c-db83-45d3-9142-dc597ff7d65b" providerId="ADAL" clId="{46FD2C16-79FF-4FFE-BCE3-742826F5B8DC}" dt="2023-06-15T07:41:44.216" v="4687" actId="478"/>
          <ac:spMkLst>
            <pc:docMk/>
            <pc:sldMk cId="3918490550" sldId="2147470805"/>
            <ac:spMk id="180" creationId="{B2568BCC-3BA2-EC48-0EAE-973C7048821F}"/>
          </ac:spMkLst>
        </pc:spChg>
        <pc:spChg chg="add mod ord">
          <ac:chgData name="Zhu Arena, GFTIOV, BCOM" userId="a49f412c-db83-45d3-9142-dc597ff7d65b" providerId="ADAL" clId="{46FD2C16-79FF-4FFE-BCE3-742826F5B8DC}" dt="2023-06-15T08:00:17.189" v="4898" actId="790"/>
          <ac:spMkLst>
            <pc:docMk/>
            <pc:sldMk cId="3918490550" sldId="2147470805"/>
            <ac:spMk id="181" creationId="{BD603C0F-5D13-8F65-15DB-84A4B6BEEA32}"/>
          </ac:spMkLst>
        </pc:spChg>
        <pc:spChg chg="add del mod">
          <ac:chgData name="Zhu Arena, GFTIOV, BCOM" userId="a49f412c-db83-45d3-9142-dc597ff7d65b" providerId="ADAL" clId="{46FD2C16-79FF-4FFE-BCE3-742826F5B8DC}" dt="2023-06-15T07:40:31.737" v="4672" actId="478"/>
          <ac:spMkLst>
            <pc:docMk/>
            <pc:sldMk cId="3918490550" sldId="2147470805"/>
            <ac:spMk id="182" creationId="{1F63DDA5-5CAF-CD23-1FE9-63BAD9FFEA51}"/>
          </ac:spMkLst>
        </pc:spChg>
        <pc:spChg chg="add mod">
          <ac:chgData name="Zhu Arena, GFTIOV, BCOM" userId="a49f412c-db83-45d3-9142-dc597ff7d65b" providerId="ADAL" clId="{46FD2C16-79FF-4FFE-BCE3-742826F5B8DC}" dt="2023-06-15T08:00:17.180" v="4884" actId="790"/>
          <ac:spMkLst>
            <pc:docMk/>
            <pc:sldMk cId="3918490550" sldId="2147470805"/>
            <ac:spMk id="184" creationId="{D8018FAE-79AE-88DF-8FF8-435308F1C039}"/>
          </ac:spMkLst>
        </pc:spChg>
        <pc:spChg chg="add del mod">
          <ac:chgData name="Zhu Arena, GFTIOV, BCOM" userId="a49f412c-db83-45d3-9142-dc597ff7d65b" providerId="ADAL" clId="{46FD2C16-79FF-4FFE-BCE3-742826F5B8DC}" dt="2023-06-15T07:13:11.009" v="4224" actId="478"/>
          <ac:spMkLst>
            <pc:docMk/>
            <pc:sldMk cId="3918490550" sldId="2147470805"/>
            <ac:spMk id="185" creationId="{E382A074-C59A-5E5E-71AC-DA6C4F95531D}"/>
          </ac:spMkLst>
        </pc:spChg>
        <pc:spChg chg="mod">
          <ac:chgData name="Zhu Arena, GFTIOV, BCOM" userId="a49f412c-db83-45d3-9142-dc597ff7d65b" providerId="ADAL" clId="{46FD2C16-79FF-4FFE-BCE3-742826F5B8DC}" dt="2023-06-15T08:00:17.180" v="4885" actId="790"/>
          <ac:spMkLst>
            <pc:docMk/>
            <pc:sldMk cId="3918490550" sldId="2147470805"/>
            <ac:spMk id="188" creationId="{D10C0C6D-183C-058B-D80F-BB3320B69D62}"/>
          </ac:spMkLst>
        </pc:spChg>
        <pc:spChg chg="add mod">
          <ac:chgData name="Zhu Arena, GFTIOV, BCOM" userId="a49f412c-db83-45d3-9142-dc597ff7d65b" providerId="ADAL" clId="{46FD2C16-79FF-4FFE-BCE3-742826F5B8DC}" dt="2023-06-15T08:00:17.180" v="4886" actId="790"/>
          <ac:spMkLst>
            <pc:docMk/>
            <pc:sldMk cId="3918490550" sldId="2147470805"/>
            <ac:spMk id="189" creationId="{2765E04E-B0B5-7B40-6DF6-D946552A0399}"/>
          </ac:spMkLst>
        </pc:spChg>
        <pc:spChg chg="add mod">
          <ac:chgData name="Zhu Arena, GFTIOV, BCOM" userId="a49f412c-db83-45d3-9142-dc597ff7d65b" providerId="ADAL" clId="{46FD2C16-79FF-4FFE-BCE3-742826F5B8DC}" dt="2023-06-15T08:00:17.180" v="4887" actId="790"/>
          <ac:spMkLst>
            <pc:docMk/>
            <pc:sldMk cId="3918490550" sldId="2147470805"/>
            <ac:spMk id="190" creationId="{1C577B7D-8097-FD7F-93E9-F15221CE4C7F}"/>
          </ac:spMkLst>
        </pc:spChg>
        <pc:spChg chg="add mod">
          <ac:chgData name="Zhu Arena, GFTIOV, BCOM" userId="a49f412c-db83-45d3-9142-dc597ff7d65b" providerId="ADAL" clId="{46FD2C16-79FF-4FFE-BCE3-742826F5B8DC}" dt="2023-06-15T08:00:17.180" v="4888" actId="790"/>
          <ac:spMkLst>
            <pc:docMk/>
            <pc:sldMk cId="3918490550" sldId="2147470805"/>
            <ac:spMk id="1027" creationId="{969DCC8E-BC0F-4F57-743E-21487E69DF90}"/>
          </ac:spMkLst>
        </pc:spChg>
        <pc:spChg chg="add del mod">
          <ac:chgData name="Zhu Arena, GFTIOV, BCOM" userId="a49f412c-db83-45d3-9142-dc597ff7d65b" providerId="ADAL" clId="{46FD2C16-79FF-4FFE-BCE3-742826F5B8DC}" dt="2023-06-15T07:29:03.043" v="4539" actId="21"/>
          <ac:spMkLst>
            <pc:docMk/>
            <pc:sldMk cId="3918490550" sldId="2147470805"/>
            <ac:spMk id="1028" creationId="{58BA0FEB-0BE2-F5A0-A05C-83AC0FF1C1BD}"/>
          </ac:spMkLst>
        </pc:spChg>
        <pc:spChg chg="add mod">
          <ac:chgData name="Zhu Arena, GFTIOV, BCOM" userId="a49f412c-db83-45d3-9142-dc597ff7d65b" providerId="ADAL" clId="{46FD2C16-79FF-4FFE-BCE3-742826F5B8DC}" dt="2023-06-15T09:47:54.930" v="5694" actId="208"/>
          <ac:spMkLst>
            <pc:docMk/>
            <pc:sldMk cId="3918490550" sldId="2147470805"/>
            <ac:spMk id="1030" creationId="{43CB28AE-93B1-3041-3E3A-1D59BB038321}"/>
          </ac:spMkLst>
        </pc:spChg>
        <pc:spChg chg="add mod">
          <ac:chgData name="Zhu Arena, GFTIOV, BCOM" userId="a49f412c-db83-45d3-9142-dc597ff7d65b" providerId="ADAL" clId="{46FD2C16-79FF-4FFE-BCE3-742826F5B8DC}" dt="2023-06-15T08:00:17.189" v="4895" actId="790"/>
          <ac:spMkLst>
            <pc:docMk/>
            <pc:sldMk cId="3918490550" sldId="2147470805"/>
            <ac:spMk id="1031" creationId="{9E0F895D-F8E2-63B9-1117-3EA0607CFD51}"/>
          </ac:spMkLst>
        </pc:spChg>
        <pc:spChg chg="add mod">
          <ac:chgData name="Zhu Arena, GFTIOV, BCOM" userId="a49f412c-db83-45d3-9142-dc597ff7d65b" providerId="ADAL" clId="{46FD2C16-79FF-4FFE-BCE3-742826F5B8DC}" dt="2023-06-15T08:00:17.189" v="4897" actId="790"/>
          <ac:spMkLst>
            <pc:docMk/>
            <pc:sldMk cId="3918490550" sldId="2147470805"/>
            <ac:spMk id="1033" creationId="{F3EACEB7-B0A2-6E04-0EFE-0062D45447C4}"/>
          </ac:spMkLst>
        </pc:spChg>
        <pc:grpChg chg="del">
          <ac:chgData name="Zhu Arena, GFTIOV, BCOM" userId="a49f412c-db83-45d3-9142-dc597ff7d65b" providerId="ADAL" clId="{46FD2C16-79FF-4FFE-BCE3-742826F5B8DC}" dt="2023-06-15T06:23:57.331" v="3430" actId="478"/>
          <ac:grpSpMkLst>
            <pc:docMk/>
            <pc:sldMk cId="3918490550" sldId="2147470805"/>
            <ac:grpSpMk id="28" creationId="{181BB769-6E3C-9785-2F95-B37F7DFDBCB3}"/>
          </ac:grpSpMkLst>
        </pc:grpChg>
        <pc:grpChg chg="del">
          <ac:chgData name="Zhu Arena, GFTIOV, BCOM" userId="a49f412c-db83-45d3-9142-dc597ff7d65b" providerId="ADAL" clId="{46FD2C16-79FF-4FFE-BCE3-742826F5B8DC}" dt="2023-06-15T06:24:02.144" v="3432" actId="478"/>
          <ac:grpSpMkLst>
            <pc:docMk/>
            <pc:sldMk cId="3918490550" sldId="2147470805"/>
            <ac:grpSpMk id="32" creationId="{FA16D394-86AA-3C7F-FF68-55D841B0C07F}"/>
          </ac:grpSpMkLst>
        </pc:grpChg>
        <pc:grpChg chg="del">
          <ac:chgData name="Zhu Arena, GFTIOV, BCOM" userId="a49f412c-db83-45d3-9142-dc597ff7d65b" providerId="ADAL" clId="{46FD2C16-79FF-4FFE-BCE3-742826F5B8DC}" dt="2023-06-15T06:24:23.495" v="3439" actId="478"/>
          <ac:grpSpMkLst>
            <pc:docMk/>
            <pc:sldMk cId="3918490550" sldId="2147470805"/>
            <ac:grpSpMk id="38" creationId="{99FDAE59-0C7C-9E72-3B33-961580264E5A}"/>
          </ac:grpSpMkLst>
        </pc:grpChg>
        <pc:grpChg chg="del">
          <ac:chgData name="Zhu Arena, GFTIOV, BCOM" userId="a49f412c-db83-45d3-9142-dc597ff7d65b" providerId="ADAL" clId="{46FD2C16-79FF-4FFE-BCE3-742826F5B8DC}" dt="2023-06-15T06:24:24.475" v="3440" actId="478"/>
          <ac:grpSpMkLst>
            <pc:docMk/>
            <pc:sldMk cId="3918490550" sldId="2147470805"/>
            <ac:grpSpMk id="42" creationId="{F7AD5B07-F9EF-0EA8-BBE1-99096E697D74}"/>
          </ac:grpSpMkLst>
        </pc:grpChg>
        <pc:grpChg chg="del">
          <ac:chgData name="Zhu Arena, GFTIOV, BCOM" userId="a49f412c-db83-45d3-9142-dc597ff7d65b" providerId="ADAL" clId="{46FD2C16-79FF-4FFE-BCE3-742826F5B8DC}" dt="2023-06-15T06:24:21.904" v="3437" actId="478"/>
          <ac:grpSpMkLst>
            <pc:docMk/>
            <pc:sldMk cId="3918490550" sldId="2147470805"/>
            <ac:grpSpMk id="45" creationId="{6AA5FFEE-1546-874E-A0DA-284E1F003F3E}"/>
          </ac:grpSpMkLst>
        </pc:grpChg>
        <pc:grpChg chg="del">
          <ac:chgData name="Zhu Arena, GFTIOV, BCOM" userId="a49f412c-db83-45d3-9142-dc597ff7d65b" providerId="ADAL" clId="{46FD2C16-79FF-4FFE-BCE3-742826F5B8DC}" dt="2023-06-15T06:25:17.182" v="3453" actId="478"/>
          <ac:grpSpMkLst>
            <pc:docMk/>
            <pc:sldMk cId="3918490550" sldId="2147470805"/>
            <ac:grpSpMk id="54" creationId="{D0A288BF-5F33-2D1A-3EFD-73D28FA4C72D}"/>
          </ac:grpSpMkLst>
        </pc:grpChg>
        <pc:grpChg chg="add del mod">
          <ac:chgData name="Zhu Arena, GFTIOV, BCOM" userId="a49f412c-db83-45d3-9142-dc597ff7d65b" providerId="ADAL" clId="{46FD2C16-79FF-4FFE-BCE3-742826F5B8DC}" dt="2023-06-15T06:31:41.860" v="3616" actId="478"/>
          <ac:grpSpMkLst>
            <pc:docMk/>
            <pc:sldMk cId="3918490550" sldId="2147470805"/>
            <ac:grpSpMk id="117" creationId="{75B24D51-5734-71C5-AF4F-C6DB906FA680}"/>
          </ac:grpSpMkLst>
        </pc:grpChg>
        <pc:grpChg chg="add mod">
          <ac:chgData name="Zhu Arena, GFTIOV, BCOM" userId="a49f412c-db83-45d3-9142-dc597ff7d65b" providerId="ADAL" clId="{46FD2C16-79FF-4FFE-BCE3-742826F5B8DC}" dt="2023-06-15T07:36:25.999" v="4617" actId="1076"/>
          <ac:grpSpMkLst>
            <pc:docMk/>
            <pc:sldMk cId="3918490550" sldId="2147470805"/>
            <ac:grpSpMk id="139" creationId="{482EBB11-FF89-6F76-9203-91218887E52B}"/>
          </ac:grpSpMkLst>
        </pc:grpChg>
        <pc:grpChg chg="add del mod">
          <ac:chgData name="Zhu Arena, GFTIOV, BCOM" userId="a49f412c-db83-45d3-9142-dc597ff7d65b" providerId="ADAL" clId="{46FD2C16-79FF-4FFE-BCE3-742826F5B8DC}" dt="2023-06-15T06:45:00.115" v="3719" actId="478"/>
          <ac:grpSpMkLst>
            <pc:docMk/>
            <pc:sldMk cId="3918490550" sldId="2147470805"/>
            <ac:grpSpMk id="142" creationId="{55B22169-3674-3601-BC9A-E4F37A683AE9}"/>
          </ac:grpSpMkLst>
        </pc:grpChg>
        <pc:grpChg chg="add del mod">
          <ac:chgData name="Zhu Arena, GFTIOV, BCOM" userId="a49f412c-db83-45d3-9142-dc597ff7d65b" providerId="ADAL" clId="{46FD2C16-79FF-4FFE-BCE3-742826F5B8DC}" dt="2023-06-15T06:44:54.158" v="3717" actId="478"/>
          <ac:grpSpMkLst>
            <pc:docMk/>
            <pc:sldMk cId="3918490550" sldId="2147470805"/>
            <ac:grpSpMk id="145" creationId="{9AFCE34C-EC19-D8B7-047F-7E70F0508589}"/>
          </ac:grpSpMkLst>
        </pc:grpChg>
        <pc:grpChg chg="add mod">
          <ac:chgData name="Zhu Arena, GFTIOV, BCOM" userId="a49f412c-db83-45d3-9142-dc597ff7d65b" providerId="ADAL" clId="{46FD2C16-79FF-4FFE-BCE3-742826F5B8DC}" dt="2023-06-15T07:36:30.913" v="4618" actId="1076"/>
          <ac:grpSpMkLst>
            <pc:docMk/>
            <pc:sldMk cId="3918490550" sldId="2147470805"/>
            <ac:grpSpMk id="150" creationId="{E04D965F-B144-3B16-3D5E-B674AA0DB265}"/>
          </ac:grpSpMkLst>
        </pc:grpChg>
        <pc:grpChg chg="add mod">
          <ac:chgData name="Zhu Arena, GFTIOV, BCOM" userId="a49f412c-db83-45d3-9142-dc597ff7d65b" providerId="ADAL" clId="{46FD2C16-79FF-4FFE-BCE3-742826F5B8DC}" dt="2023-06-15T07:37:21.747" v="4624" actId="1035"/>
          <ac:grpSpMkLst>
            <pc:docMk/>
            <pc:sldMk cId="3918490550" sldId="2147470805"/>
            <ac:grpSpMk id="186" creationId="{941C87FA-4E19-7D66-4008-03904CC3A704}"/>
          </ac:grpSpMkLst>
        </pc:grpChg>
        <pc:grpChg chg="add mod">
          <ac:chgData name="Zhu Arena, GFTIOV, BCOM" userId="a49f412c-db83-45d3-9142-dc597ff7d65b" providerId="ADAL" clId="{46FD2C16-79FF-4FFE-BCE3-742826F5B8DC}" dt="2023-06-15T07:36:14.490" v="4614" actId="1076"/>
          <ac:grpSpMkLst>
            <pc:docMk/>
            <pc:sldMk cId="3918490550" sldId="2147470805"/>
            <ac:grpSpMk id="1024" creationId="{2392468D-F3E9-2932-6665-C334AE938A18}"/>
          </ac:grpSpMkLst>
        </pc:grpChg>
        <pc:grpChg chg="add mod">
          <ac:chgData name="Zhu Arena, GFTIOV, BCOM" userId="a49f412c-db83-45d3-9142-dc597ff7d65b" providerId="ADAL" clId="{46FD2C16-79FF-4FFE-BCE3-742826F5B8DC}" dt="2023-06-15T07:36:22.946" v="4616" actId="1076"/>
          <ac:grpSpMkLst>
            <pc:docMk/>
            <pc:sldMk cId="3918490550" sldId="2147470805"/>
            <ac:grpSpMk id="1025" creationId="{08D9F8D3-479A-0751-D311-376BCAE91020}"/>
          </ac:grpSpMkLst>
        </pc:grpChg>
        <pc:graphicFrameChg chg="del mod modGraphic">
          <ac:chgData name="Zhu Arena, GFTIOV, BCOM" userId="a49f412c-db83-45d3-9142-dc597ff7d65b" providerId="ADAL" clId="{46FD2C16-79FF-4FFE-BCE3-742826F5B8DC}" dt="2023-06-15T06:27:07.727" v="3507" actId="478"/>
          <ac:graphicFrameMkLst>
            <pc:docMk/>
            <pc:sldMk cId="3918490550" sldId="2147470805"/>
            <ac:graphicFrameMk id="8" creationId="{D43EEBD2-F45E-51B0-E06D-CBA90D02A386}"/>
          </ac:graphicFrameMkLst>
        </pc:graphicFrameChg>
        <pc:graphicFrameChg chg="del mod modGraphic">
          <ac:chgData name="Zhu Arena, GFTIOV, BCOM" userId="a49f412c-db83-45d3-9142-dc597ff7d65b" providerId="ADAL" clId="{46FD2C16-79FF-4FFE-BCE3-742826F5B8DC}" dt="2023-06-15T06:27:22.290" v="3511" actId="478"/>
          <ac:graphicFrameMkLst>
            <pc:docMk/>
            <pc:sldMk cId="3918490550" sldId="2147470805"/>
            <ac:graphicFrameMk id="18" creationId="{B207E23E-8DC1-5DF8-B86C-7298B800BFB2}"/>
          </ac:graphicFrameMkLst>
        </pc:graphicFrameChg>
        <pc:graphicFrameChg chg="del">
          <ac:chgData name="Zhu Arena, GFTIOV, BCOM" userId="a49f412c-db83-45d3-9142-dc597ff7d65b" providerId="ADAL" clId="{46FD2C16-79FF-4FFE-BCE3-742826F5B8DC}" dt="2023-06-15T02:55:38.889" v="3154" actId="478"/>
          <ac:graphicFrameMkLst>
            <pc:docMk/>
            <pc:sldMk cId="3918490550" sldId="2147470805"/>
            <ac:graphicFrameMk id="19" creationId="{902AECD1-1001-C1D2-D6D4-6AA88F069F7A}"/>
          </ac:graphicFrameMkLst>
        </pc:graphicFrameChg>
        <pc:graphicFrameChg chg="del mod">
          <ac:chgData name="Zhu Arena, GFTIOV, BCOM" userId="a49f412c-db83-45d3-9142-dc597ff7d65b" providerId="ADAL" clId="{46FD2C16-79FF-4FFE-BCE3-742826F5B8DC}" dt="2023-06-15T06:17:53.242" v="3414" actId="478"/>
          <ac:graphicFrameMkLst>
            <pc:docMk/>
            <pc:sldMk cId="3918490550" sldId="2147470805"/>
            <ac:graphicFrameMk id="21" creationId="{21F50C55-D541-41D0-0133-B660D15E4F87}"/>
          </ac:graphicFrameMkLst>
        </pc:graphicFrameChg>
        <pc:graphicFrameChg chg="add mod modGraphic">
          <ac:chgData name="Zhu Arena, GFTIOV, BCOM" userId="a49f412c-db83-45d3-9142-dc597ff7d65b" providerId="ADAL" clId="{46FD2C16-79FF-4FFE-BCE3-742826F5B8DC}" dt="2023-06-15T08:00:17.175" v="4872" actId="790"/>
          <ac:graphicFrameMkLst>
            <pc:docMk/>
            <pc:sldMk cId="3918490550" sldId="2147470805"/>
            <ac:graphicFrameMk id="119" creationId="{1E6001DC-07B6-7000-D71A-0711CC7AE46B}"/>
          </ac:graphicFrameMkLst>
        </pc:graphicFrameChg>
        <pc:graphicFrameChg chg="add mod modGraphic">
          <ac:chgData name="Zhu Arena, GFTIOV, BCOM" userId="a49f412c-db83-45d3-9142-dc597ff7d65b" providerId="ADAL" clId="{46FD2C16-79FF-4FFE-BCE3-742826F5B8DC}" dt="2023-06-15T08:00:17.180" v="4883" actId="790"/>
          <ac:graphicFrameMkLst>
            <pc:docMk/>
            <pc:sldMk cId="3918490550" sldId="2147470805"/>
            <ac:graphicFrameMk id="183" creationId="{A64E7B84-E6EB-B98E-A065-26421B8279A5}"/>
          </ac:graphicFrameMkLst>
        </pc:graphicFrameChg>
        <pc:graphicFrameChg chg="add del mod modGraphic">
          <ac:chgData name="Zhu Arena, GFTIOV, BCOM" userId="a49f412c-db83-45d3-9142-dc597ff7d65b" providerId="ADAL" clId="{46FD2C16-79FF-4FFE-BCE3-742826F5B8DC}" dt="2023-06-15T07:22:12.047" v="4420" actId="478"/>
          <ac:graphicFrameMkLst>
            <pc:docMk/>
            <pc:sldMk cId="3918490550" sldId="2147470805"/>
            <ac:graphicFrameMk id="191" creationId="{89C0B8BF-7068-18F5-CF2C-B29D650D7424}"/>
          </ac:graphicFrameMkLst>
        </pc:graphicFrameChg>
        <pc:picChg chg="del">
          <ac:chgData name="Zhu Arena, GFTIOV, BCOM" userId="a49f412c-db83-45d3-9142-dc597ff7d65b" providerId="ADAL" clId="{46FD2C16-79FF-4FFE-BCE3-742826F5B8DC}" dt="2023-06-15T06:18:57.768" v="3427" actId="478"/>
          <ac:picMkLst>
            <pc:docMk/>
            <pc:sldMk cId="3918490550" sldId="2147470805"/>
            <ac:picMk id="6" creationId="{B2B2D0A2-F373-A3F5-7B8C-082E54B10A3B}"/>
          </ac:picMkLst>
        </pc:picChg>
        <pc:picChg chg="add del">
          <ac:chgData name="Zhu Arena, GFTIOV, BCOM" userId="a49f412c-db83-45d3-9142-dc597ff7d65b" providerId="ADAL" clId="{46FD2C16-79FF-4FFE-BCE3-742826F5B8DC}" dt="2023-06-15T06:24:58.677" v="3447"/>
          <ac:picMkLst>
            <pc:docMk/>
            <pc:sldMk cId="3918490550" sldId="2147470805"/>
            <ac:picMk id="20" creationId="{160D4323-9838-3225-8A34-38E98C7FC919}"/>
          </ac:picMkLst>
        </pc:picChg>
        <pc:picChg chg="del">
          <ac:chgData name="Zhu Arena, GFTIOV, BCOM" userId="a49f412c-db83-45d3-9142-dc597ff7d65b" providerId="ADAL" clId="{46FD2C16-79FF-4FFE-BCE3-742826F5B8DC}" dt="2023-06-15T06:18:55.051" v="3425" actId="478"/>
          <ac:picMkLst>
            <pc:docMk/>
            <pc:sldMk cId="3918490550" sldId="2147470805"/>
            <ac:picMk id="24" creationId="{9A61E67E-3DC5-C7EC-B123-F681C07F71FA}"/>
          </ac:picMkLst>
        </pc:picChg>
        <pc:picChg chg="add mod">
          <ac:chgData name="Zhu Arena, GFTIOV, BCOM" userId="a49f412c-db83-45d3-9142-dc597ff7d65b" providerId="ADAL" clId="{46FD2C16-79FF-4FFE-BCE3-742826F5B8DC}" dt="2023-06-15T06:26:30.109" v="3475" actId="14100"/>
          <ac:picMkLst>
            <pc:docMk/>
            <pc:sldMk cId="3918490550" sldId="2147470805"/>
            <ac:picMk id="25" creationId="{7EDB573A-FBD2-4F00-2E25-4AD1BDBD7359}"/>
          </ac:picMkLst>
        </pc:picChg>
        <pc:picChg chg="del">
          <ac:chgData name="Zhu Arena, GFTIOV, BCOM" userId="a49f412c-db83-45d3-9142-dc597ff7d65b" providerId="ADAL" clId="{46FD2C16-79FF-4FFE-BCE3-742826F5B8DC}" dt="2023-06-15T06:18:46.335" v="3419" actId="478"/>
          <ac:picMkLst>
            <pc:docMk/>
            <pc:sldMk cId="3918490550" sldId="2147470805"/>
            <ac:picMk id="26" creationId="{3C6BAFDF-0617-EAE2-1A2B-3C530FCE64E9}"/>
          </ac:picMkLst>
        </pc:picChg>
        <pc:picChg chg="del topLvl">
          <ac:chgData name="Zhu Arena, GFTIOV, BCOM" userId="a49f412c-db83-45d3-9142-dc597ff7d65b" providerId="ADAL" clId="{46FD2C16-79FF-4FFE-BCE3-742826F5B8DC}" dt="2023-06-15T06:23:58.104" v="3431" actId="478"/>
          <ac:picMkLst>
            <pc:docMk/>
            <pc:sldMk cId="3918490550" sldId="2147470805"/>
            <ac:picMk id="29" creationId="{55052568-6857-E5B6-B5B0-FCD51E479BA4}"/>
          </ac:picMkLst>
        </pc:picChg>
        <pc:picChg chg="del">
          <ac:chgData name="Zhu Arena, GFTIOV, BCOM" userId="a49f412c-db83-45d3-9142-dc597ff7d65b" providerId="ADAL" clId="{46FD2C16-79FF-4FFE-BCE3-742826F5B8DC}" dt="2023-06-15T06:24:27.939" v="3441" actId="478"/>
          <ac:picMkLst>
            <pc:docMk/>
            <pc:sldMk cId="3918490550" sldId="2147470805"/>
            <ac:picMk id="36" creationId="{E8EF1369-36F7-7405-651E-98B2710EEA38}"/>
          </ac:picMkLst>
        </pc:picChg>
        <pc:picChg chg="del">
          <ac:chgData name="Zhu Arena, GFTIOV, BCOM" userId="a49f412c-db83-45d3-9142-dc597ff7d65b" providerId="ADAL" clId="{46FD2C16-79FF-4FFE-BCE3-742826F5B8DC}" dt="2023-06-15T06:24:32.048" v="3444" actId="478"/>
          <ac:picMkLst>
            <pc:docMk/>
            <pc:sldMk cId="3918490550" sldId="2147470805"/>
            <ac:picMk id="41" creationId="{40691970-4546-E30E-A5F8-775E15CCAA9A}"/>
          </ac:picMkLst>
        </pc:picChg>
        <pc:picChg chg="del topLvl">
          <ac:chgData name="Zhu Arena, GFTIOV, BCOM" userId="a49f412c-db83-45d3-9142-dc597ff7d65b" providerId="ADAL" clId="{46FD2C16-79FF-4FFE-BCE3-742826F5B8DC}" dt="2023-06-15T06:24:22.592" v="3438" actId="478"/>
          <ac:picMkLst>
            <pc:docMk/>
            <pc:sldMk cId="3918490550" sldId="2147470805"/>
            <ac:picMk id="46" creationId="{E5AC35BA-0AC3-C583-DE0E-789943C17F68}"/>
          </ac:picMkLst>
        </pc:picChg>
        <pc:picChg chg="del">
          <ac:chgData name="Zhu Arena, GFTIOV, BCOM" userId="a49f412c-db83-45d3-9142-dc597ff7d65b" providerId="ADAL" clId="{46FD2C16-79FF-4FFE-BCE3-742826F5B8DC}" dt="2023-06-15T06:18:49.550" v="3422" actId="478"/>
          <ac:picMkLst>
            <pc:docMk/>
            <pc:sldMk cId="3918490550" sldId="2147470805"/>
            <ac:picMk id="48" creationId="{FD750615-27CF-FD0D-6949-38807079092C}"/>
          </ac:picMkLst>
        </pc:picChg>
        <pc:picChg chg="del">
          <ac:chgData name="Zhu Arena, GFTIOV, BCOM" userId="a49f412c-db83-45d3-9142-dc597ff7d65b" providerId="ADAL" clId="{46FD2C16-79FF-4FFE-BCE3-742826F5B8DC}" dt="2023-06-15T06:19:00.876" v="3429" actId="478"/>
          <ac:picMkLst>
            <pc:docMk/>
            <pc:sldMk cId="3918490550" sldId="2147470805"/>
            <ac:picMk id="50" creationId="{22C154DE-F395-5956-B7FF-6A463B5EEDBA}"/>
          </ac:picMkLst>
        </pc:picChg>
        <pc:picChg chg="add del mod">
          <ac:chgData name="Zhu Arena, GFTIOV, BCOM" userId="a49f412c-db83-45d3-9142-dc597ff7d65b" providerId="ADAL" clId="{46FD2C16-79FF-4FFE-BCE3-742826F5B8DC}" dt="2023-06-15T10:23:16.932" v="6189" actId="478"/>
          <ac:picMkLst>
            <pc:docMk/>
            <pc:sldMk cId="3918490550" sldId="2147470805"/>
            <ac:picMk id="57" creationId="{66EFB0E4-7605-35D3-09D7-538751FDBFA9}"/>
          </ac:picMkLst>
        </pc:picChg>
        <pc:picChg chg="add del mod">
          <ac:chgData name="Zhu Arena, GFTIOV, BCOM" userId="a49f412c-db83-45d3-9142-dc597ff7d65b" providerId="ADAL" clId="{46FD2C16-79FF-4FFE-BCE3-742826F5B8DC}" dt="2023-06-15T06:30:12.099" v="3604" actId="478"/>
          <ac:picMkLst>
            <pc:docMk/>
            <pc:sldMk cId="3918490550" sldId="2147470805"/>
            <ac:picMk id="60" creationId="{CED08711-0FA8-0F0A-1E6D-8A98239A9322}"/>
          </ac:picMkLst>
        </pc:picChg>
        <pc:picChg chg="add mod">
          <ac:chgData name="Zhu Arena, GFTIOV, BCOM" userId="a49f412c-db83-45d3-9142-dc597ff7d65b" providerId="ADAL" clId="{46FD2C16-79FF-4FFE-BCE3-742826F5B8DC}" dt="2023-06-15T06:30:59.213" v="3606" actId="164"/>
          <ac:picMkLst>
            <pc:docMk/>
            <pc:sldMk cId="3918490550" sldId="2147470805"/>
            <ac:picMk id="67" creationId="{7BD1C09A-DDED-3DA7-14EE-2D5E7C99DA17}"/>
          </ac:picMkLst>
        </pc:picChg>
        <pc:picChg chg="add mod">
          <ac:chgData name="Zhu Arena, GFTIOV, BCOM" userId="a49f412c-db83-45d3-9142-dc597ff7d65b" providerId="ADAL" clId="{46FD2C16-79FF-4FFE-BCE3-742826F5B8DC}" dt="2023-06-15T06:30:59.213" v="3606" actId="164"/>
          <ac:picMkLst>
            <pc:docMk/>
            <pc:sldMk cId="3918490550" sldId="2147470805"/>
            <ac:picMk id="79" creationId="{C63184F6-9E4C-ED3C-15DA-66663F7FF989}"/>
          </ac:picMkLst>
        </pc:picChg>
        <pc:picChg chg="add mod">
          <ac:chgData name="Zhu Arena, GFTIOV, BCOM" userId="a49f412c-db83-45d3-9142-dc597ff7d65b" providerId="ADAL" clId="{46FD2C16-79FF-4FFE-BCE3-742826F5B8DC}" dt="2023-06-15T06:30:59.213" v="3606" actId="164"/>
          <ac:picMkLst>
            <pc:docMk/>
            <pc:sldMk cId="3918490550" sldId="2147470805"/>
            <ac:picMk id="80" creationId="{246AEE84-A2AE-9513-2F80-9D374D48FD71}"/>
          </ac:picMkLst>
        </pc:picChg>
        <pc:picChg chg="add mod">
          <ac:chgData name="Zhu Arena, GFTIOV, BCOM" userId="a49f412c-db83-45d3-9142-dc597ff7d65b" providerId="ADAL" clId="{46FD2C16-79FF-4FFE-BCE3-742826F5B8DC}" dt="2023-06-15T06:30:59.213" v="3606" actId="164"/>
          <ac:picMkLst>
            <pc:docMk/>
            <pc:sldMk cId="3918490550" sldId="2147470805"/>
            <ac:picMk id="81" creationId="{C7DA4D91-5475-AB2A-B2D8-49426924435F}"/>
          </ac:picMkLst>
        </pc:picChg>
        <pc:picChg chg="add del mod">
          <ac:chgData name="Zhu Arena, GFTIOV, BCOM" userId="a49f412c-db83-45d3-9142-dc597ff7d65b" providerId="ADAL" clId="{46FD2C16-79FF-4FFE-BCE3-742826F5B8DC}" dt="2023-06-15T06:35:06.322" v="3665" actId="478"/>
          <ac:picMkLst>
            <pc:docMk/>
            <pc:sldMk cId="3918490550" sldId="2147470805"/>
            <ac:picMk id="118" creationId="{71870AC1-FD10-525C-CCC9-5E5D32BDEE91}"/>
          </ac:picMkLst>
        </pc:picChg>
        <pc:picChg chg="add del mod">
          <ac:chgData name="Zhu Arena, GFTIOV, BCOM" userId="a49f412c-db83-45d3-9142-dc597ff7d65b" providerId="ADAL" clId="{46FD2C16-79FF-4FFE-BCE3-742826F5B8DC}" dt="2023-06-15T06:36:24.477" v="3677" actId="478"/>
          <ac:picMkLst>
            <pc:docMk/>
            <pc:sldMk cId="3918490550" sldId="2147470805"/>
            <ac:picMk id="122" creationId="{5738104B-5037-C915-E389-B0EB3D471AC8}"/>
          </ac:picMkLst>
        </pc:picChg>
        <pc:picChg chg="add del mod">
          <ac:chgData name="Zhu Arena, GFTIOV, BCOM" userId="a49f412c-db83-45d3-9142-dc597ff7d65b" providerId="ADAL" clId="{46FD2C16-79FF-4FFE-BCE3-742826F5B8DC}" dt="2023-06-15T06:46:21.755" v="3729" actId="478"/>
          <ac:picMkLst>
            <pc:docMk/>
            <pc:sldMk cId="3918490550" sldId="2147470805"/>
            <ac:picMk id="123" creationId="{7EEECE41-2386-11E2-08B8-296BB634E493}"/>
          </ac:picMkLst>
        </pc:picChg>
        <pc:picChg chg="add del mod">
          <ac:chgData name="Zhu Arena, GFTIOV, BCOM" userId="a49f412c-db83-45d3-9142-dc597ff7d65b" providerId="ADAL" clId="{46FD2C16-79FF-4FFE-BCE3-742826F5B8DC}" dt="2023-06-15T06:46:12.160" v="3726" actId="478"/>
          <ac:picMkLst>
            <pc:docMk/>
            <pc:sldMk cId="3918490550" sldId="2147470805"/>
            <ac:picMk id="124" creationId="{6D68D1C0-4FF2-174D-ED28-C9919A9EA966}"/>
          </ac:picMkLst>
        </pc:picChg>
        <pc:picChg chg="mod">
          <ac:chgData name="Zhu Arena, GFTIOV, BCOM" userId="a49f412c-db83-45d3-9142-dc597ff7d65b" providerId="ADAL" clId="{46FD2C16-79FF-4FFE-BCE3-742826F5B8DC}" dt="2023-06-15T07:36:25.999" v="4617" actId="1076"/>
          <ac:picMkLst>
            <pc:docMk/>
            <pc:sldMk cId="3918490550" sldId="2147470805"/>
            <ac:picMk id="140" creationId="{91B0F97D-D761-9B2D-CD2E-491E5A5EEF71}"/>
          </ac:picMkLst>
        </pc:picChg>
        <pc:picChg chg="del mod topLvl">
          <ac:chgData name="Zhu Arena, GFTIOV, BCOM" userId="a49f412c-db83-45d3-9142-dc597ff7d65b" providerId="ADAL" clId="{46FD2C16-79FF-4FFE-BCE3-742826F5B8DC}" dt="2023-06-15T06:45:04.203" v="3720" actId="478"/>
          <ac:picMkLst>
            <pc:docMk/>
            <pc:sldMk cId="3918490550" sldId="2147470805"/>
            <ac:picMk id="143" creationId="{58542AEB-26ED-2BD5-E0E7-54D0E2692AB7}"/>
          </ac:picMkLst>
        </pc:picChg>
        <pc:picChg chg="del mod">
          <ac:chgData name="Zhu Arena, GFTIOV, BCOM" userId="a49f412c-db83-45d3-9142-dc597ff7d65b" providerId="ADAL" clId="{46FD2C16-79FF-4FFE-BCE3-742826F5B8DC}" dt="2023-06-15T06:44:54.158" v="3717" actId="478"/>
          <ac:picMkLst>
            <pc:docMk/>
            <pc:sldMk cId="3918490550" sldId="2147470805"/>
            <ac:picMk id="146" creationId="{F7E4C444-D159-1177-DA46-FCED0EDF6185}"/>
          </ac:picMkLst>
        </pc:picChg>
        <pc:picChg chg="add del mod">
          <ac:chgData name="Zhu Arena, GFTIOV, BCOM" userId="a49f412c-db83-45d3-9142-dc597ff7d65b" providerId="ADAL" clId="{46FD2C16-79FF-4FFE-BCE3-742826F5B8DC}" dt="2023-06-15T07:24:28.906" v="4430" actId="478"/>
          <ac:picMkLst>
            <pc:docMk/>
            <pc:sldMk cId="3918490550" sldId="2147470805"/>
            <ac:picMk id="148" creationId="{CB9FB19A-1C20-48D6-7754-24C61049A1E6}"/>
          </ac:picMkLst>
        </pc:picChg>
        <pc:picChg chg="add del mod">
          <ac:chgData name="Zhu Arena, GFTIOV, BCOM" userId="a49f412c-db83-45d3-9142-dc597ff7d65b" providerId="ADAL" clId="{46FD2C16-79FF-4FFE-BCE3-742826F5B8DC}" dt="2023-06-15T06:53:02.427" v="3740" actId="478"/>
          <ac:picMkLst>
            <pc:docMk/>
            <pc:sldMk cId="3918490550" sldId="2147470805"/>
            <ac:picMk id="149" creationId="{94EBF3F8-A83D-0A08-E98C-BF9F1C6C8301}"/>
          </ac:picMkLst>
        </pc:picChg>
        <pc:picChg chg="mod">
          <ac:chgData name="Zhu Arena, GFTIOV, BCOM" userId="a49f412c-db83-45d3-9142-dc597ff7d65b" providerId="ADAL" clId="{46FD2C16-79FF-4FFE-BCE3-742826F5B8DC}" dt="2023-06-15T07:36:30.913" v="4618" actId="1076"/>
          <ac:picMkLst>
            <pc:docMk/>
            <pc:sldMk cId="3918490550" sldId="2147470805"/>
            <ac:picMk id="151" creationId="{25315465-8968-5FE1-432C-B357F2D6FC17}"/>
          </ac:picMkLst>
        </pc:picChg>
        <pc:picChg chg="add mod">
          <ac:chgData name="Zhu Arena, GFTIOV, BCOM" userId="a49f412c-db83-45d3-9142-dc597ff7d65b" providerId="ADAL" clId="{46FD2C16-79FF-4FFE-BCE3-742826F5B8DC}" dt="2023-06-15T07:36:22.946" v="4616" actId="1076"/>
          <ac:picMkLst>
            <pc:docMk/>
            <pc:sldMk cId="3918490550" sldId="2147470805"/>
            <ac:picMk id="153" creationId="{712081E2-F010-39B5-9EFF-30C0C714B2D0}"/>
          </ac:picMkLst>
        </pc:picChg>
        <pc:picChg chg="add mod">
          <ac:chgData name="Zhu Arena, GFTIOV, BCOM" userId="a49f412c-db83-45d3-9142-dc597ff7d65b" providerId="ADAL" clId="{46FD2C16-79FF-4FFE-BCE3-742826F5B8DC}" dt="2023-06-15T07:35:36.613" v="4607" actId="1076"/>
          <ac:picMkLst>
            <pc:docMk/>
            <pc:sldMk cId="3918490550" sldId="2147470805"/>
            <ac:picMk id="168" creationId="{1FB5FC56-B3A7-14B2-3035-B57DFF87DF44}"/>
          </ac:picMkLst>
        </pc:picChg>
        <pc:picChg chg="add mod">
          <ac:chgData name="Zhu Arena, GFTIOV, BCOM" userId="a49f412c-db83-45d3-9142-dc597ff7d65b" providerId="ADAL" clId="{46FD2C16-79FF-4FFE-BCE3-742826F5B8DC}" dt="2023-06-15T07:39:30.613" v="4660" actId="1036"/>
          <ac:picMkLst>
            <pc:docMk/>
            <pc:sldMk cId="3918490550" sldId="2147470805"/>
            <ac:picMk id="170" creationId="{DDC4577F-16CD-ACE8-D75C-569F64DE2A2F}"/>
          </ac:picMkLst>
        </pc:picChg>
        <pc:picChg chg="add mod">
          <ac:chgData name="Zhu Arena, GFTIOV, BCOM" userId="a49f412c-db83-45d3-9142-dc597ff7d65b" providerId="ADAL" clId="{46FD2C16-79FF-4FFE-BCE3-742826F5B8DC}" dt="2023-06-15T07:39:30.613" v="4660" actId="1036"/>
          <ac:picMkLst>
            <pc:docMk/>
            <pc:sldMk cId="3918490550" sldId="2147470805"/>
            <ac:picMk id="172" creationId="{349931B8-0B59-4711-4BB1-A88B41EA5486}"/>
          </ac:picMkLst>
        </pc:picChg>
        <pc:picChg chg="add mod">
          <ac:chgData name="Zhu Arena, GFTIOV, BCOM" userId="a49f412c-db83-45d3-9142-dc597ff7d65b" providerId="ADAL" clId="{46FD2C16-79FF-4FFE-BCE3-742826F5B8DC}" dt="2023-06-15T07:39:30.613" v="4660" actId="1036"/>
          <ac:picMkLst>
            <pc:docMk/>
            <pc:sldMk cId="3918490550" sldId="2147470805"/>
            <ac:picMk id="173" creationId="{8D855369-F10A-0DD5-B9A5-7BFB9DE1815C}"/>
          </ac:picMkLst>
        </pc:picChg>
        <pc:picChg chg="add mod">
          <ac:chgData name="Zhu Arena, GFTIOV, BCOM" userId="a49f412c-db83-45d3-9142-dc597ff7d65b" providerId="ADAL" clId="{46FD2C16-79FF-4FFE-BCE3-742826F5B8DC}" dt="2023-06-15T07:40:55.558" v="4678" actId="1076"/>
          <ac:picMkLst>
            <pc:docMk/>
            <pc:sldMk cId="3918490550" sldId="2147470805"/>
            <ac:picMk id="175" creationId="{BCF193A2-9B53-8E7B-3E9B-B104F32CB62B}"/>
          </ac:picMkLst>
        </pc:picChg>
        <pc:picChg chg="add mod">
          <ac:chgData name="Zhu Arena, GFTIOV, BCOM" userId="a49f412c-db83-45d3-9142-dc597ff7d65b" providerId="ADAL" clId="{46FD2C16-79FF-4FFE-BCE3-742826F5B8DC}" dt="2023-06-15T07:39:30.613" v="4660" actId="1036"/>
          <ac:picMkLst>
            <pc:docMk/>
            <pc:sldMk cId="3918490550" sldId="2147470805"/>
            <ac:picMk id="176" creationId="{29C7F2F9-CE11-BB48-F606-1BDBA2207825}"/>
          </ac:picMkLst>
        </pc:picChg>
        <pc:picChg chg="mod">
          <ac:chgData name="Zhu Arena, GFTIOV, BCOM" userId="a49f412c-db83-45d3-9142-dc597ff7d65b" providerId="ADAL" clId="{46FD2C16-79FF-4FFE-BCE3-742826F5B8DC}" dt="2023-06-15T07:37:21.747" v="4624" actId="1035"/>
          <ac:picMkLst>
            <pc:docMk/>
            <pc:sldMk cId="3918490550" sldId="2147470805"/>
            <ac:picMk id="187" creationId="{DD000F4C-C5F6-9337-29B2-F29D1577ECB1}"/>
          </ac:picMkLst>
        </pc:picChg>
        <pc:picChg chg="add mod">
          <ac:chgData name="Zhu Arena, GFTIOV, BCOM" userId="a49f412c-db83-45d3-9142-dc597ff7d65b" providerId="ADAL" clId="{46FD2C16-79FF-4FFE-BCE3-742826F5B8DC}" dt="2023-06-15T10:24:45.392" v="6197" actId="14100"/>
          <ac:picMkLst>
            <pc:docMk/>
            <pc:sldMk cId="3918490550" sldId="2147470805"/>
            <ac:picMk id="1026" creationId="{65EC9757-C716-A960-098F-0D4A64516A85}"/>
          </ac:picMkLst>
        </pc:picChg>
        <pc:picChg chg="add del mod">
          <ac:chgData name="Zhu Arena, GFTIOV, BCOM" userId="a49f412c-db83-45d3-9142-dc597ff7d65b" providerId="ADAL" clId="{46FD2C16-79FF-4FFE-BCE3-742826F5B8DC}" dt="2023-06-15T07:41:30.458" v="4685" actId="478"/>
          <ac:picMkLst>
            <pc:docMk/>
            <pc:sldMk cId="3918490550" sldId="2147470805"/>
            <ac:picMk id="1026" creationId="{9E476070-90A4-C4B6-AA51-D51C7DABCD11}"/>
          </ac:picMkLst>
        </pc:picChg>
        <pc:picChg chg="add mod modCrop">
          <ac:chgData name="Zhu Arena, GFTIOV, BCOM" userId="a49f412c-db83-45d3-9142-dc597ff7d65b" providerId="ADAL" clId="{46FD2C16-79FF-4FFE-BCE3-742826F5B8DC}" dt="2023-06-15T07:29:58.508" v="4549" actId="1076"/>
          <ac:picMkLst>
            <pc:docMk/>
            <pc:sldMk cId="3918490550" sldId="2147470805"/>
            <ac:picMk id="1029" creationId="{79093F73-63E5-4907-F0EC-40251C768BBF}"/>
          </ac:picMkLst>
        </pc:picChg>
        <pc:picChg chg="add mod">
          <ac:chgData name="Zhu Arena, GFTIOV, BCOM" userId="a49f412c-db83-45d3-9142-dc597ff7d65b" providerId="ADAL" clId="{46FD2C16-79FF-4FFE-BCE3-742826F5B8DC}" dt="2023-06-15T07:41:08.557" v="4682" actId="14100"/>
          <ac:picMkLst>
            <pc:docMk/>
            <pc:sldMk cId="3918490550" sldId="2147470805"/>
            <ac:picMk id="1032" creationId="{BF2BCE91-450D-3925-3F51-CA13991E6758}"/>
          </ac:picMkLst>
        </pc:picChg>
        <pc:cxnChg chg="add del mod">
          <ac:chgData name="Zhu Arena, GFTIOV, BCOM" userId="a49f412c-db83-45d3-9142-dc597ff7d65b" providerId="ADAL" clId="{46FD2C16-79FF-4FFE-BCE3-742826F5B8DC}" dt="2023-06-15T06:27:09.407" v="3508" actId="478"/>
          <ac:cxnSpMkLst>
            <pc:docMk/>
            <pc:sldMk cId="3918490550" sldId="2147470805"/>
            <ac:cxnSpMk id="4" creationId="{E761BCCC-8919-7697-96CD-D17C2836F403}"/>
          </ac:cxnSpMkLst>
        </pc:cxnChg>
        <pc:cxnChg chg="mod">
          <ac:chgData name="Zhu Arena, GFTIOV, BCOM" userId="a49f412c-db83-45d3-9142-dc597ff7d65b" providerId="ADAL" clId="{46FD2C16-79FF-4FFE-BCE3-742826F5B8DC}" dt="2023-06-15T06:26:22.863" v="3473" actId="14100"/>
          <ac:cxnSpMkLst>
            <pc:docMk/>
            <pc:sldMk cId="3918490550" sldId="2147470805"/>
            <ac:cxnSpMk id="7" creationId="{1A3A3473-E873-A672-A1FE-831741DC5C59}"/>
          </ac:cxnSpMkLst>
        </pc:cxnChg>
        <pc:cxnChg chg="del mod">
          <ac:chgData name="Zhu Arena, GFTIOV, BCOM" userId="a49f412c-db83-45d3-9142-dc597ff7d65b" providerId="ADAL" clId="{46FD2C16-79FF-4FFE-BCE3-742826F5B8DC}" dt="2023-06-15T02:56:20.278" v="3232" actId="478"/>
          <ac:cxnSpMkLst>
            <pc:docMk/>
            <pc:sldMk cId="3918490550" sldId="2147470805"/>
            <ac:cxnSpMk id="9" creationId="{63EAF059-4895-D9CE-AE15-FB2A7A62D0FB}"/>
          </ac:cxnSpMkLst>
        </pc:cxnChg>
        <pc:cxnChg chg="del mod">
          <ac:chgData name="Zhu Arena, GFTIOV, BCOM" userId="a49f412c-db83-45d3-9142-dc597ff7d65b" providerId="ADAL" clId="{46FD2C16-79FF-4FFE-BCE3-742826F5B8DC}" dt="2023-06-15T02:55:40.290" v="3155" actId="478"/>
          <ac:cxnSpMkLst>
            <pc:docMk/>
            <pc:sldMk cId="3918490550" sldId="2147470805"/>
            <ac:cxnSpMk id="10" creationId="{AFC92811-2AA2-9A18-8BDE-8F7857622A78}"/>
          </ac:cxnSpMkLst>
        </pc:cxnChg>
        <pc:cxnChg chg="del mod">
          <ac:chgData name="Zhu Arena, GFTIOV, BCOM" userId="a49f412c-db83-45d3-9142-dc597ff7d65b" providerId="ADAL" clId="{46FD2C16-79FF-4FFE-BCE3-742826F5B8DC}" dt="2023-06-15T06:27:19.696" v="3510" actId="478"/>
          <ac:cxnSpMkLst>
            <pc:docMk/>
            <pc:sldMk cId="3918490550" sldId="2147470805"/>
            <ac:cxnSpMk id="17" creationId="{B1D72C96-C375-E5BC-A1E0-A98DBBA315AA}"/>
          </ac:cxnSpMkLst>
        </pc:cxnChg>
        <pc:cxnChg chg="add mod">
          <ac:chgData name="Zhu Arena, GFTIOV, BCOM" userId="a49f412c-db83-45d3-9142-dc597ff7d65b" providerId="ADAL" clId="{46FD2C16-79FF-4FFE-BCE3-742826F5B8DC}" dt="2023-06-15T06:30:59.213" v="3606" actId="164"/>
          <ac:cxnSpMkLst>
            <pc:docMk/>
            <pc:sldMk cId="3918490550" sldId="2147470805"/>
            <ac:cxnSpMk id="86" creationId="{59D18363-D126-ABEE-894B-C21FAAB7F262}"/>
          </ac:cxnSpMkLst>
        </pc:cxnChg>
        <pc:cxnChg chg="add mod">
          <ac:chgData name="Zhu Arena, GFTIOV, BCOM" userId="a49f412c-db83-45d3-9142-dc597ff7d65b" providerId="ADAL" clId="{46FD2C16-79FF-4FFE-BCE3-742826F5B8DC}" dt="2023-06-15T06:30:59.213" v="3606" actId="164"/>
          <ac:cxnSpMkLst>
            <pc:docMk/>
            <pc:sldMk cId="3918490550" sldId="2147470805"/>
            <ac:cxnSpMk id="87" creationId="{DD1C814C-F444-57E7-7F0D-C88B17AB70A3}"/>
          </ac:cxnSpMkLst>
        </pc:cxnChg>
        <pc:cxnChg chg="add mod">
          <ac:chgData name="Zhu Arena, GFTIOV, BCOM" userId="a49f412c-db83-45d3-9142-dc597ff7d65b" providerId="ADAL" clId="{46FD2C16-79FF-4FFE-BCE3-742826F5B8DC}" dt="2023-06-15T06:30:59.213" v="3606" actId="164"/>
          <ac:cxnSpMkLst>
            <pc:docMk/>
            <pc:sldMk cId="3918490550" sldId="2147470805"/>
            <ac:cxnSpMk id="88" creationId="{5F60575C-16DF-E87F-0FB9-CDF8CE478C99}"/>
          </ac:cxnSpMkLst>
        </pc:cxnChg>
        <pc:cxnChg chg="add mod">
          <ac:chgData name="Zhu Arena, GFTIOV, BCOM" userId="a49f412c-db83-45d3-9142-dc597ff7d65b" providerId="ADAL" clId="{46FD2C16-79FF-4FFE-BCE3-742826F5B8DC}" dt="2023-06-15T06:30:59.213" v="3606" actId="164"/>
          <ac:cxnSpMkLst>
            <pc:docMk/>
            <pc:sldMk cId="3918490550" sldId="2147470805"/>
            <ac:cxnSpMk id="89" creationId="{2ADF9DD8-52F4-A089-5F89-CED68F969297}"/>
          </ac:cxnSpMkLst>
        </pc:cxnChg>
        <pc:cxnChg chg="add mod">
          <ac:chgData name="Zhu Arena, GFTIOV, BCOM" userId="a49f412c-db83-45d3-9142-dc597ff7d65b" providerId="ADAL" clId="{46FD2C16-79FF-4FFE-BCE3-742826F5B8DC}" dt="2023-06-15T06:30:59.213" v="3606" actId="164"/>
          <ac:cxnSpMkLst>
            <pc:docMk/>
            <pc:sldMk cId="3918490550" sldId="2147470805"/>
            <ac:cxnSpMk id="90" creationId="{DDF198B6-50D0-DD01-33DA-23B01C0D2272}"/>
          </ac:cxnSpMkLst>
        </pc:cxnChg>
        <pc:cxnChg chg="add mod">
          <ac:chgData name="Zhu Arena, GFTIOV, BCOM" userId="a49f412c-db83-45d3-9142-dc597ff7d65b" providerId="ADAL" clId="{46FD2C16-79FF-4FFE-BCE3-742826F5B8DC}" dt="2023-06-15T06:30:59.213" v="3606" actId="164"/>
          <ac:cxnSpMkLst>
            <pc:docMk/>
            <pc:sldMk cId="3918490550" sldId="2147470805"/>
            <ac:cxnSpMk id="95" creationId="{632FCE6B-2DDD-3AB7-C705-4037B5224F89}"/>
          </ac:cxnSpMkLst>
        </pc:cxnChg>
        <pc:cxnChg chg="add mod">
          <ac:chgData name="Zhu Arena, GFTIOV, BCOM" userId="a49f412c-db83-45d3-9142-dc597ff7d65b" providerId="ADAL" clId="{46FD2C16-79FF-4FFE-BCE3-742826F5B8DC}" dt="2023-06-15T06:30:59.213" v="3606" actId="164"/>
          <ac:cxnSpMkLst>
            <pc:docMk/>
            <pc:sldMk cId="3918490550" sldId="2147470805"/>
            <ac:cxnSpMk id="96" creationId="{451B30DE-96BB-F0D5-985E-5E2D1CA28BD9}"/>
          </ac:cxnSpMkLst>
        </pc:cxnChg>
        <pc:cxnChg chg="add mod">
          <ac:chgData name="Zhu Arena, GFTIOV, BCOM" userId="a49f412c-db83-45d3-9142-dc597ff7d65b" providerId="ADAL" clId="{46FD2C16-79FF-4FFE-BCE3-742826F5B8DC}" dt="2023-06-15T06:30:59.213" v="3606" actId="164"/>
          <ac:cxnSpMkLst>
            <pc:docMk/>
            <pc:sldMk cId="3918490550" sldId="2147470805"/>
            <ac:cxnSpMk id="97" creationId="{610F998F-874E-3C3F-B374-BBF3D239B21D}"/>
          </ac:cxnSpMkLst>
        </pc:cxnChg>
        <pc:cxnChg chg="add mod">
          <ac:chgData name="Zhu Arena, GFTIOV, BCOM" userId="a49f412c-db83-45d3-9142-dc597ff7d65b" providerId="ADAL" clId="{46FD2C16-79FF-4FFE-BCE3-742826F5B8DC}" dt="2023-06-15T06:30:59.213" v="3606" actId="164"/>
          <ac:cxnSpMkLst>
            <pc:docMk/>
            <pc:sldMk cId="3918490550" sldId="2147470805"/>
            <ac:cxnSpMk id="98" creationId="{63A3206A-7E73-D6B5-A883-1308D757CC5A}"/>
          </ac:cxnSpMkLst>
        </pc:cxnChg>
        <pc:cxnChg chg="add mod">
          <ac:chgData name="Zhu Arena, GFTIOV, BCOM" userId="a49f412c-db83-45d3-9142-dc597ff7d65b" providerId="ADAL" clId="{46FD2C16-79FF-4FFE-BCE3-742826F5B8DC}" dt="2023-06-15T06:30:59.213" v="3606" actId="164"/>
          <ac:cxnSpMkLst>
            <pc:docMk/>
            <pc:sldMk cId="3918490550" sldId="2147470805"/>
            <ac:cxnSpMk id="99" creationId="{99A33200-3464-06B8-EC60-C14648DCFBF9}"/>
          </ac:cxnSpMkLst>
        </pc:cxnChg>
        <pc:cxnChg chg="add mod">
          <ac:chgData name="Zhu Arena, GFTIOV, BCOM" userId="a49f412c-db83-45d3-9142-dc597ff7d65b" providerId="ADAL" clId="{46FD2C16-79FF-4FFE-BCE3-742826F5B8DC}" dt="2023-06-15T06:30:59.213" v="3606" actId="164"/>
          <ac:cxnSpMkLst>
            <pc:docMk/>
            <pc:sldMk cId="3918490550" sldId="2147470805"/>
            <ac:cxnSpMk id="101" creationId="{F6C6C1FA-D3BD-1499-3D2E-6A0D485D9922}"/>
          </ac:cxnSpMkLst>
        </pc:cxnChg>
        <pc:cxnChg chg="add mod">
          <ac:chgData name="Zhu Arena, GFTIOV, BCOM" userId="a49f412c-db83-45d3-9142-dc597ff7d65b" providerId="ADAL" clId="{46FD2C16-79FF-4FFE-BCE3-742826F5B8DC}" dt="2023-06-15T06:30:59.213" v="3606" actId="164"/>
          <ac:cxnSpMkLst>
            <pc:docMk/>
            <pc:sldMk cId="3918490550" sldId="2147470805"/>
            <ac:cxnSpMk id="102" creationId="{F99BDC41-F781-A858-47B7-1C4E6856D1EA}"/>
          </ac:cxnSpMkLst>
        </pc:cxnChg>
        <pc:cxnChg chg="add mod">
          <ac:chgData name="Zhu Arena, GFTIOV, BCOM" userId="a49f412c-db83-45d3-9142-dc597ff7d65b" providerId="ADAL" clId="{46FD2C16-79FF-4FFE-BCE3-742826F5B8DC}" dt="2023-06-15T06:30:59.213" v="3606" actId="164"/>
          <ac:cxnSpMkLst>
            <pc:docMk/>
            <pc:sldMk cId="3918490550" sldId="2147470805"/>
            <ac:cxnSpMk id="103" creationId="{A73768A5-7004-F504-A1CC-2DD9A7F05915}"/>
          </ac:cxnSpMkLst>
        </pc:cxnChg>
        <pc:cxnChg chg="add mod">
          <ac:chgData name="Zhu Arena, GFTIOV, BCOM" userId="a49f412c-db83-45d3-9142-dc597ff7d65b" providerId="ADAL" clId="{46FD2C16-79FF-4FFE-BCE3-742826F5B8DC}" dt="2023-06-15T06:30:59.213" v="3606" actId="164"/>
          <ac:cxnSpMkLst>
            <pc:docMk/>
            <pc:sldMk cId="3918490550" sldId="2147470805"/>
            <ac:cxnSpMk id="104" creationId="{B7F040D8-349D-C855-9B21-77F709E1A2F8}"/>
          </ac:cxnSpMkLst>
        </pc:cxnChg>
        <pc:cxnChg chg="add mod">
          <ac:chgData name="Zhu Arena, GFTIOV, BCOM" userId="a49f412c-db83-45d3-9142-dc597ff7d65b" providerId="ADAL" clId="{46FD2C16-79FF-4FFE-BCE3-742826F5B8DC}" dt="2023-06-15T06:30:59.213" v="3606" actId="164"/>
          <ac:cxnSpMkLst>
            <pc:docMk/>
            <pc:sldMk cId="3918490550" sldId="2147470805"/>
            <ac:cxnSpMk id="105" creationId="{3D2FC116-1B82-3202-BBB8-EF7C03D96D2F}"/>
          </ac:cxnSpMkLst>
        </pc:cxnChg>
        <pc:cxnChg chg="add mod">
          <ac:chgData name="Zhu Arena, GFTIOV, BCOM" userId="a49f412c-db83-45d3-9142-dc597ff7d65b" providerId="ADAL" clId="{46FD2C16-79FF-4FFE-BCE3-742826F5B8DC}" dt="2023-06-15T06:30:59.213" v="3606" actId="164"/>
          <ac:cxnSpMkLst>
            <pc:docMk/>
            <pc:sldMk cId="3918490550" sldId="2147470805"/>
            <ac:cxnSpMk id="109" creationId="{16232599-146D-155A-BE29-B4A2CC92DF55}"/>
          </ac:cxnSpMkLst>
        </pc:cxnChg>
        <pc:cxnChg chg="add mod">
          <ac:chgData name="Zhu Arena, GFTIOV, BCOM" userId="a49f412c-db83-45d3-9142-dc597ff7d65b" providerId="ADAL" clId="{46FD2C16-79FF-4FFE-BCE3-742826F5B8DC}" dt="2023-06-15T06:30:59.213" v="3606" actId="164"/>
          <ac:cxnSpMkLst>
            <pc:docMk/>
            <pc:sldMk cId="3918490550" sldId="2147470805"/>
            <ac:cxnSpMk id="110" creationId="{ADDDFBAE-17E5-835F-E451-CEF6565878E0}"/>
          </ac:cxnSpMkLst>
        </pc:cxnChg>
        <pc:cxnChg chg="add mod">
          <ac:chgData name="Zhu Arena, GFTIOV, BCOM" userId="a49f412c-db83-45d3-9142-dc597ff7d65b" providerId="ADAL" clId="{46FD2C16-79FF-4FFE-BCE3-742826F5B8DC}" dt="2023-06-15T06:30:59.213" v="3606" actId="164"/>
          <ac:cxnSpMkLst>
            <pc:docMk/>
            <pc:sldMk cId="3918490550" sldId="2147470805"/>
            <ac:cxnSpMk id="111" creationId="{C568AE43-0F1E-AE51-28F8-2F3170D996E2}"/>
          </ac:cxnSpMkLst>
        </pc:cxnChg>
        <pc:cxnChg chg="add mod">
          <ac:chgData name="Zhu Arena, GFTIOV, BCOM" userId="a49f412c-db83-45d3-9142-dc597ff7d65b" providerId="ADAL" clId="{46FD2C16-79FF-4FFE-BCE3-742826F5B8DC}" dt="2023-06-15T06:30:59.213" v="3606" actId="164"/>
          <ac:cxnSpMkLst>
            <pc:docMk/>
            <pc:sldMk cId="3918490550" sldId="2147470805"/>
            <ac:cxnSpMk id="112" creationId="{07301706-82CA-10DA-7618-F0E252E8EF60}"/>
          </ac:cxnSpMkLst>
        </pc:cxnChg>
        <pc:cxnChg chg="add mod">
          <ac:chgData name="Zhu Arena, GFTIOV, BCOM" userId="a49f412c-db83-45d3-9142-dc597ff7d65b" providerId="ADAL" clId="{46FD2C16-79FF-4FFE-BCE3-742826F5B8DC}" dt="2023-06-15T06:30:59.213" v="3606" actId="164"/>
          <ac:cxnSpMkLst>
            <pc:docMk/>
            <pc:sldMk cId="3918490550" sldId="2147470805"/>
            <ac:cxnSpMk id="113" creationId="{093D7A65-B9F2-CAD7-6057-2540A9C5661D}"/>
          </ac:cxnSpMkLst>
        </pc:cxnChg>
        <pc:cxnChg chg="add mod">
          <ac:chgData name="Zhu Arena, GFTIOV, BCOM" userId="a49f412c-db83-45d3-9142-dc597ff7d65b" providerId="ADAL" clId="{46FD2C16-79FF-4FFE-BCE3-742826F5B8DC}" dt="2023-06-15T07:44:25.936" v="4720" actId="1037"/>
          <ac:cxnSpMkLst>
            <pc:docMk/>
            <pc:sldMk cId="3918490550" sldId="2147470805"/>
            <ac:cxnSpMk id="120" creationId="{BF4E216C-16BE-484A-BD0D-B9EF65A77AD8}"/>
          </ac:cxnSpMkLst>
        </pc:cxnChg>
        <pc:cxnChg chg="add del mod">
          <ac:chgData name="Zhu Arena, GFTIOV, BCOM" userId="a49f412c-db83-45d3-9142-dc597ff7d65b" providerId="ADAL" clId="{46FD2C16-79FF-4FFE-BCE3-742826F5B8DC}" dt="2023-06-15T06:38:39.336" v="3701" actId="478"/>
          <ac:cxnSpMkLst>
            <pc:docMk/>
            <pc:sldMk cId="3918490550" sldId="2147470805"/>
            <ac:cxnSpMk id="127" creationId="{0E1B3666-BD32-AC23-6658-76F2A082E0FB}"/>
          </ac:cxnSpMkLst>
        </pc:cxnChg>
        <pc:cxnChg chg="add del mod">
          <ac:chgData name="Zhu Arena, GFTIOV, BCOM" userId="a49f412c-db83-45d3-9142-dc597ff7d65b" providerId="ADAL" clId="{46FD2C16-79FF-4FFE-BCE3-742826F5B8DC}" dt="2023-06-15T07:27:09.373" v="4519" actId="478"/>
          <ac:cxnSpMkLst>
            <pc:docMk/>
            <pc:sldMk cId="3918490550" sldId="2147470805"/>
            <ac:cxnSpMk id="131" creationId="{5E5F31A5-5599-C107-2E49-77D6CCEDC9DB}"/>
          </ac:cxnSpMkLst>
        </pc:cxnChg>
        <pc:cxnChg chg="add del mod">
          <ac:chgData name="Zhu Arena, GFTIOV, BCOM" userId="a49f412c-db83-45d3-9142-dc597ff7d65b" providerId="ADAL" clId="{46FD2C16-79FF-4FFE-BCE3-742826F5B8DC}" dt="2023-06-15T07:16:39.380" v="4318" actId="478"/>
          <ac:cxnSpMkLst>
            <pc:docMk/>
            <pc:sldMk cId="3918490550" sldId="2147470805"/>
            <ac:cxnSpMk id="138" creationId="{959F011E-C044-A24E-8ABF-CDA7FADB2008}"/>
          </ac:cxnSpMkLst>
        </pc:cxnChg>
        <pc:cxnChg chg="add del mod">
          <ac:chgData name="Zhu Arena, GFTIOV, BCOM" userId="a49f412c-db83-45d3-9142-dc597ff7d65b" providerId="ADAL" clId="{46FD2C16-79FF-4FFE-BCE3-742826F5B8DC}" dt="2023-06-15T07:27:14.420" v="4523" actId="478"/>
          <ac:cxnSpMkLst>
            <pc:docMk/>
            <pc:sldMk cId="3918490550" sldId="2147470805"/>
            <ac:cxnSpMk id="157" creationId="{DC495F0E-71AC-928C-BBA9-78EB23518D81}"/>
          </ac:cxnSpMkLst>
        </pc:cxnChg>
        <pc:cxnChg chg="add del mod">
          <ac:chgData name="Zhu Arena, GFTIOV, BCOM" userId="a49f412c-db83-45d3-9142-dc597ff7d65b" providerId="ADAL" clId="{46FD2C16-79FF-4FFE-BCE3-742826F5B8DC}" dt="2023-06-15T07:27:08.371" v="4518" actId="478"/>
          <ac:cxnSpMkLst>
            <pc:docMk/>
            <pc:sldMk cId="3918490550" sldId="2147470805"/>
            <ac:cxnSpMk id="158" creationId="{307900C5-0A42-79BC-8AD6-AA277B16FCFB}"/>
          </ac:cxnSpMkLst>
        </pc:cxnChg>
        <pc:cxnChg chg="add del mod">
          <ac:chgData name="Zhu Arena, GFTIOV, BCOM" userId="a49f412c-db83-45d3-9142-dc597ff7d65b" providerId="ADAL" clId="{46FD2C16-79FF-4FFE-BCE3-742826F5B8DC}" dt="2023-06-15T07:27:16.258" v="4524" actId="478"/>
          <ac:cxnSpMkLst>
            <pc:docMk/>
            <pc:sldMk cId="3918490550" sldId="2147470805"/>
            <ac:cxnSpMk id="159" creationId="{DC495F0E-71AC-928C-BBA9-78EB23518D81}"/>
          </ac:cxnSpMkLst>
        </pc:cxnChg>
        <pc:cxnChg chg="add del mod">
          <ac:chgData name="Zhu Arena, GFTIOV, BCOM" userId="a49f412c-db83-45d3-9142-dc597ff7d65b" providerId="ADAL" clId="{46FD2C16-79FF-4FFE-BCE3-742826F5B8DC}" dt="2023-06-15T07:27:12.320" v="4521" actId="478"/>
          <ac:cxnSpMkLst>
            <pc:docMk/>
            <pc:sldMk cId="3918490550" sldId="2147470805"/>
            <ac:cxnSpMk id="160" creationId="{DC495F0E-71AC-928C-BBA9-78EB23518D81}"/>
          </ac:cxnSpMkLst>
        </pc:cxnChg>
        <pc:cxnChg chg="add del mod">
          <ac:chgData name="Zhu Arena, GFTIOV, BCOM" userId="a49f412c-db83-45d3-9142-dc597ff7d65b" providerId="ADAL" clId="{46FD2C16-79FF-4FFE-BCE3-742826F5B8DC}" dt="2023-06-15T07:27:13.583" v="4522" actId="478"/>
          <ac:cxnSpMkLst>
            <pc:docMk/>
            <pc:sldMk cId="3918490550" sldId="2147470805"/>
            <ac:cxnSpMk id="161" creationId="{E15D7F86-6821-DA55-07D4-223E24CC236C}"/>
          </ac:cxnSpMkLst>
        </pc:cxnChg>
        <pc:cxnChg chg="add mod">
          <ac:chgData name="Zhu Arena, GFTIOV, BCOM" userId="a49f412c-db83-45d3-9142-dc597ff7d65b" providerId="ADAL" clId="{46FD2C16-79FF-4FFE-BCE3-742826F5B8DC}" dt="2023-06-15T06:58:10.363" v="3993"/>
          <ac:cxnSpMkLst>
            <pc:docMk/>
            <pc:sldMk cId="3918490550" sldId="2147470805"/>
            <ac:cxnSpMk id="162" creationId="{DC495F0E-71AC-928C-BBA9-78EB23518D81}"/>
          </ac:cxnSpMkLst>
        </pc:cxnChg>
        <pc:cxnChg chg="add del mod">
          <ac:chgData name="Zhu Arena, GFTIOV, BCOM" userId="a49f412c-db83-45d3-9142-dc597ff7d65b" providerId="ADAL" clId="{46FD2C16-79FF-4FFE-BCE3-742826F5B8DC}" dt="2023-06-15T07:27:11.258" v="4520" actId="478"/>
          <ac:cxnSpMkLst>
            <pc:docMk/>
            <pc:sldMk cId="3918490550" sldId="2147470805"/>
            <ac:cxnSpMk id="163" creationId="{DC495F0E-71AC-928C-BBA9-78EB23518D81}"/>
          </ac:cxnSpMkLst>
        </pc:cxnChg>
        <pc:cxnChg chg="add">
          <ac:chgData name="Zhu Arena, GFTIOV, BCOM" userId="a49f412c-db83-45d3-9142-dc597ff7d65b" providerId="ADAL" clId="{46FD2C16-79FF-4FFE-BCE3-742826F5B8DC}" dt="2023-06-15T07:42:14.312" v="4688" actId="11529"/>
          <ac:cxnSpMkLst>
            <pc:docMk/>
            <pc:sldMk cId="3918490550" sldId="2147470805"/>
            <ac:cxnSpMk id="1035" creationId="{D7AE3206-3A52-0A5B-6676-9A745B7E3E60}"/>
          </ac:cxnSpMkLst>
        </pc:cxnChg>
        <pc:cxnChg chg="add mod">
          <ac:chgData name="Zhu Arena, GFTIOV, BCOM" userId="a49f412c-db83-45d3-9142-dc597ff7d65b" providerId="ADAL" clId="{46FD2C16-79FF-4FFE-BCE3-742826F5B8DC}" dt="2023-06-15T07:43:30.058" v="4693" actId="14100"/>
          <ac:cxnSpMkLst>
            <pc:docMk/>
            <pc:sldMk cId="3918490550" sldId="2147470805"/>
            <ac:cxnSpMk id="1037" creationId="{61B06BCA-B6B9-9CC2-E6E8-86E381E7E4D8}"/>
          </ac:cxnSpMkLst>
        </pc:cxnChg>
        <pc:cxnChg chg="add mod">
          <ac:chgData name="Zhu Arena, GFTIOV, BCOM" userId="a49f412c-db83-45d3-9142-dc597ff7d65b" providerId="ADAL" clId="{46FD2C16-79FF-4FFE-BCE3-742826F5B8DC}" dt="2023-06-15T07:43:49.440" v="4697" actId="14100"/>
          <ac:cxnSpMkLst>
            <pc:docMk/>
            <pc:sldMk cId="3918490550" sldId="2147470805"/>
            <ac:cxnSpMk id="1039" creationId="{C40FE7A1-2390-D02A-96C3-5C3FC28C1CD2}"/>
          </ac:cxnSpMkLst>
        </pc:cxnChg>
      </pc:sldChg>
      <pc:sldChg chg="del">
        <pc:chgData name="Zhu Arena, GFTIOV, BCOM" userId="a49f412c-db83-45d3-9142-dc597ff7d65b" providerId="ADAL" clId="{46FD2C16-79FF-4FFE-BCE3-742826F5B8DC}" dt="2023-06-15T05:16:05.571" v="3294" actId="47"/>
        <pc:sldMkLst>
          <pc:docMk/>
          <pc:sldMk cId="3734344123" sldId="2147470809"/>
        </pc:sldMkLst>
      </pc:sldChg>
      <pc:sldChg chg="addSp delSp modSp del mod modNotesTx">
        <pc:chgData name="Zhu Arena, GFTIOV, BCOM" userId="a49f412c-db83-45d3-9142-dc597ff7d65b" providerId="ADAL" clId="{46FD2C16-79FF-4FFE-BCE3-742826F5B8DC}" dt="2023-06-15T09:26:17.935" v="5097" actId="2696"/>
        <pc:sldMkLst>
          <pc:docMk/>
          <pc:sldMk cId="2618505531" sldId="2147470810"/>
        </pc:sldMkLst>
        <pc:spChg chg="mod">
          <ac:chgData name="Zhu Arena, GFTIOV, BCOM" userId="a49f412c-db83-45d3-9142-dc597ff7d65b" providerId="ADAL" clId="{46FD2C16-79FF-4FFE-BCE3-742826F5B8DC}" dt="2023-06-15T08:00:17.213" v="4941" actId="790"/>
          <ac:spMkLst>
            <pc:docMk/>
            <pc:sldMk cId="2618505531" sldId="2147470810"/>
            <ac:spMk id="3" creationId="{00000000-0000-0000-0000-000000000000}"/>
          </ac:spMkLst>
        </pc:spChg>
        <pc:spChg chg="mod">
          <ac:chgData name="Zhu Arena, GFTIOV, BCOM" userId="a49f412c-db83-45d3-9142-dc597ff7d65b" providerId="ADAL" clId="{46FD2C16-79FF-4FFE-BCE3-742826F5B8DC}" dt="2023-06-15T08:00:17.221" v="4951" actId="790"/>
          <ac:spMkLst>
            <pc:docMk/>
            <pc:sldMk cId="2618505531" sldId="2147470810"/>
            <ac:spMk id="4" creationId="{A38E7AA7-CF7F-291C-1E74-D96BEEDDD83C}"/>
          </ac:spMkLst>
        </pc:spChg>
        <pc:spChg chg="mod">
          <ac:chgData name="Zhu Arena, GFTIOV, BCOM" userId="a49f412c-db83-45d3-9142-dc597ff7d65b" providerId="ADAL" clId="{46FD2C16-79FF-4FFE-BCE3-742826F5B8DC}" dt="2023-06-15T08:00:17.221" v="4952" actId="790"/>
          <ac:spMkLst>
            <pc:docMk/>
            <pc:sldMk cId="2618505531" sldId="2147470810"/>
            <ac:spMk id="5" creationId="{C3623CD7-96A3-7E83-6D5C-623A5DAEC924}"/>
          </ac:spMkLst>
        </pc:spChg>
        <pc:spChg chg="mod">
          <ac:chgData name="Zhu Arena, GFTIOV, BCOM" userId="a49f412c-db83-45d3-9142-dc597ff7d65b" providerId="ADAL" clId="{46FD2C16-79FF-4FFE-BCE3-742826F5B8DC}" dt="2023-06-15T08:00:17.213" v="4940" actId="790"/>
          <ac:spMkLst>
            <pc:docMk/>
            <pc:sldMk cId="2618505531" sldId="2147470810"/>
            <ac:spMk id="6" creationId="{1FF3CC93-A50E-319A-1D4C-7A30DB619C11}"/>
          </ac:spMkLst>
        </pc:spChg>
        <pc:spChg chg="mod">
          <ac:chgData name="Zhu Arena, GFTIOV, BCOM" userId="a49f412c-db83-45d3-9142-dc597ff7d65b" providerId="ADAL" clId="{46FD2C16-79FF-4FFE-BCE3-742826F5B8DC}" dt="2023-06-15T08:00:17.221" v="4948" actId="790"/>
          <ac:spMkLst>
            <pc:docMk/>
            <pc:sldMk cId="2618505531" sldId="2147470810"/>
            <ac:spMk id="8" creationId="{7E349302-E8DD-271D-87B4-7330E2ACB478}"/>
          </ac:spMkLst>
        </pc:spChg>
        <pc:spChg chg="add del">
          <ac:chgData name="Zhu Arena, GFTIOV, BCOM" userId="a49f412c-db83-45d3-9142-dc597ff7d65b" providerId="ADAL" clId="{46FD2C16-79FF-4FFE-BCE3-742826F5B8DC}" dt="2023-06-15T09:06:50.071" v="5013" actId="478"/>
          <ac:spMkLst>
            <pc:docMk/>
            <pc:sldMk cId="2618505531" sldId="2147470810"/>
            <ac:spMk id="10" creationId="{9C398FCB-403F-7E16-332E-F039A13E4B87}"/>
          </ac:spMkLst>
        </pc:spChg>
        <pc:spChg chg="mod">
          <ac:chgData name="Zhu Arena, GFTIOV, BCOM" userId="a49f412c-db83-45d3-9142-dc597ff7d65b" providerId="ADAL" clId="{46FD2C16-79FF-4FFE-BCE3-742826F5B8DC}" dt="2023-06-15T08:00:17.221" v="4949" actId="790"/>
          <ac:spMkLst>
            <pc:docMk/>
            <pc:sldMk cId="2618505531" sldId="2147470810"/>
            <ac:spMk id="11" creationId="{B4BEB0EA-A49D-D02D-8974-8261064652E5}"/>
          </ac:spMkLst>
        </pc:spChg>
        <pc:spChg chg="mod">
          <ac:chgData name="Zhu Arena, GFTIOV, BCOM" userId="a49f412c-db83-45d3-9142-dc597ff7d65b" providerId="ADAL" clId="{46FD2C16-79FF-4FFE-BCE3-742826F5B8DC}" dt="2023-06-15T08:00:17.221" v="4950" actId="790"/>
          <ac:spMkLst>
            <pc:docMk/>
            <pc:sldMk cId="2618505531" sldId="2147470810"/>
            <ac:spMk id="12" creationId="{96F5D0BB-9E95-7770-6DB7-2F84B74B5B69}"/>
          </ac:spMkLst>
        </pc:spChg>
        <pc:spChg chg="mod">
          <ac:chgData name="Zhu Arena, GFTIOV, BCOM" userId="a49f412c-db83-45d3-9142-dc597ff7d65b" providerId="ADAL" clId="{46FD2C16-79FF-4FFE-BCE3-742826F5B8DC}" dt="2023-06-15T08:03:22.190" v="5010" actId="948"/>
          <ac:spMkLst>
            <pc:docMk/>
            <pc:sldMk cId="2618505531" sldId="2147470810"/>
            <ac:spMk id="13" creationId="{B24C35B6-B9A4-8935-CE98-9BD31F710E78}"/>
          </ac:spMkLst>
        </pc:spChg>
        <pc:spChg chg="del mod">
          <ac:chgData name="Zhu Arena, GFTIOV, BCOM" userId="a49f412c-db83-45d3-9142-dc597ff7d65b" providerId="ADAL" clId="{46FD2C16-79FF-4FFE-BCE3-742826F5B8DC}" dt="2023-06-15T09:11:45.926" v="5041" actId="21"/>
          <ac:spMkLst>
            <pc:docMk/>
            <pc:sldMk cId="2618505531" sldId="2147470810"/>
            <ac:spMk id="16" creationId="{00000000-0000-0000-0000-000000000000}"/>
          </ac:spMkLst>
        </pc:spChg>
        <pc:spChg chg="del mod">
          <ac:chgData name="Zhu Arena, GFTIOV, BCOM" userId="a49f412c-db83-45d3-9142-dc597ff7d65b" providerId="ADAL" clId="{46FD2C16-79FF-4FFE-BCE3-742826F5B8DC}" dt="2023-06-15T09:12:04.698" v="5045" actId="21"/>
          <ac:spMkLst>
            <pc:docMk/>
            <pc:sldMk cId="2618505531" sldId="2147470810"/>
            <ac:spMk id="17" creationId="{00000000-0000-0000-0000-000000000000}"/>
          </ac:spMkLst>
        </pc:spChg>
        <pc:spChg chg="del mod">
          <ac:chgData name="Zhu Arena, GFTIOV, BCOM" userId="a49f412c-db83-45d3-9142-dc597ff7d65b" providerId="ADAL" clId="{46FD2C16-79FF-4FFE-BCE3-742826F5B8DC}" dt="2023-06-15T09:11:45.926" v="5041" actId="21"/>
          <ac:spMkLst>
            <pc:docMk/>
            <pc:sldMk cId="2618505531" sldId="2147470810"/>
            <ac:spMk id="18" creationId="{00000000-0000-0000-0000-000000000000}"/>
          </ac:spMkLst>
        </pc:spChg>
        <pc:spChg chg="del mod">
          <ac:chgData name="Zhu Arena, GFTIOV, BCOM" userId="a49f412c-db83-45d3-9142-dc597ff7d65b" providerId="ADAL" clId="{46FD2C16-79FF-4FFE-BCE3-742826F5B8DC}" dt="2023-06-15T09:11:45.926" v="5041" actId="21"/>
          <ac:spMkLst>
            <pc:docMk/>
            <pc:sldMk cId="2618505531" sldId="2147470810"/>
            <ac:spMk id="19" creationId="{00000000-0000-0000-0000-000000000000}"/>
          </ac:spMkLst>
        </pc:spChg>
        <pc:spChg chg="del mod">
          <ac:chgData name="Zhu Arena, GFTIOV, BCOM" userId="a49f412c-db83-45d3-9142-dc597ff7d65b" providerId="ADAL" clId="{46FD2C16-79FF-4FFE-BCE3-742826F5B8DC}" dt="2023-06-15T09:12:04.698" v="5045" actId="21"/>
          <ac:spMkLst>
            <pc:docMk/>
            <pc:sldMk cId="2618505531" sldId="2147470810"/>
            <ac:spMk id="20" creationId="{00000000-0000-0000-0000-000000000000}"/>
          </ac:spMkLst>
        </pc:spChg>
        <pc:spChg chg="del mod">
          <ac:chgData name="Zhu Arena, GFTIOV, BCOM" userId="a49f412c-db83-45d3-9142-dc597ff7d65b" providerId="ADAL" clId="{46FD2C16-79FF-4FFE-BCE3-742826F5B8DC}" dt="2023-06-15T09:12:04.698" v="5045" actId="21"/>
          <ac:spMkLst>
            <pc:docMk/>
            <pc:sldMk cId="2618505531" sldId="2147470810"/>
            <ac:spMk id="21" creationId="{00000000-0000-0000-0000-000000000000}"/>
          </ac:spMkLst>
        </pc:spChg>
        <pc:cxnChg chg="add del mod">
          <ac:chgData name="Zhu Arena, GFTIOV, BCOM" userId="a49f412c-db83-45d3-9142-dc597ff7d65b" providerId="ADAL" clId="{46FD2C16-79FF-4FFE-BCE3-742826F5B8DC}" dt="2023-06-15T08:02:26.500" v="5003" actId="478"/>
          <ac:cxnSpMkLst>
            <pc:docMk/>
            <pc:sldMk cId="2618505531" sldId="2147470810"/>
            <ac:cxnSpMk id="10" creationId="{559CCE49-BD0C-274E-5D46-E3ADD783D1CB}"/>
          </ac:cxnSpMkLst>
        </pc:cxnChg>
      </pc:sldChg>
      <pc:sldChg chg="delSp new del mod">
        <pc:chgData name="Zhu Arena, GFTIOV, BCOM" userId="a49f412c-db83-45d3-9142-dc597ff7d65b" providerId="ADAL" clId="{46FD2C16-79FF-4FFE-BCE3-742826F5B8DC}" dt="2023-06-15T09:09:12.058" v="5022" actId="47"/>
        <pc:sldMkLst>
          <pc:docMk/>
          <pc:sldMk cId="1644001842" sldId="2147470811"/>
        </pc:sldMkLst>
        <pc:spChg chg="del">
          <ac:chgData name="Zhu Arena, GFTIOV, BCOM" userId="a49f412c-db83-45d3-9142-dc597ff7d65b" providerId="ADAL" clId="{46FD2C16-79FF-4FFE-BCE3-742826F5B8DC}" dt="2023-06-15T09:07:17.214" v="5015" actId="478"/>
          <ac:spMkLst>
            <pc:docMk/>
            <pc:sldMk cId="1644001842" sldId="2147470811"/>
            <ac:spMk id="6" creationId="{72624388-D0CB-CA50-A93C-6902803CBC2A}"/>
          </ac:spMkLst>
        </pc:spChg>
      </pc:sldChg>
      <pc:sldChg chg="addSp delSp modSp new mod modNotesTx">
        <pc:chgData name="Zhu Arena, GFTIOV, BCOM" userId="a49f412c-db83-45d3-9142-dc597ff7d65b" providerId="ADAL" clId="{46FD2C16-79FF-4FFE-BCE3-742826F5B8DC}" dt="2023-06-15T10:21:30.776" v="6188" actId="14100"/>
        <pc:sldMkLst>
          <pc:docMk/>
          <pc:sldMk cId="1209251790" sldId="2147470812"/>
        </pc:sldMkLst>
        <pc:spChg chg="add mod">
          <ac:chgData name="Zhu Arena, GFTIOV, BCOM" userId="a49f412c-db83-45d3-9142-dc597ff7d65b" providerId="ADAL" clId="{46FD2C16-79FF-4FFE-BCE3-742826F5B8DC}" dt="2023-06-15T10:08:36.078" v="5963" actId="20577"/>
          <ac:spMkLst>
            <pc:docMk/>
            <pc:sldMk cId="1209251790" sldId="2147470812"/>
            <ac:spMk id="6" creationId="{DB256B76-29A6-1217-63DA-41088541DB82}"/>
          </ac:spMkLst>
        </pc:spChg>
        <pc:spChg chg="add mod">
          <ac:chgData name="Zhu Arena, GFTIOV, BCOM" userId="a49f412c-db83-45d3-9142-dc597ff7d65b" providerId="ADAL" clId="{46FD2C16-79FF-4FFE-BCE3-742826F5B8DC}" dt="2023-06-15T10:21:23.783" v="6186" actId="14100"/>
          <ac:spMkLst>
            <pc:docMk/>
            <pc:sldMk cId="1209251790" sldId="2147470812"/>
            <ac:spMk id="9" creationId="{1783BCC6-30F9-6385-15A6-75DFE7B7DF3F}"/>
          </ac:spMkLst>
        </pc:spChg>
        <pc:spChg chg="add mod">
          <ac:chgData name="Zhu Arena, GFTIOV, BCOM" userId="a49f412c-db83-45d3-9142-dc597ff7d65b" providerId="ADAL" clId="{46FD2C16-79FF-4FFE-BCE3-742826F5B8DC}" dt="2023-06-15T09:22:45.762" v="5053" actId="1076"/>
          <ac:spMkLst>
            <pc:docMk/>
            <pc:sldMk cId="1209251790" sldId="2147470812"/>
            <ac:spMk id="10" creationId="{750E1709-418B-6C8D-5EA9-DDC577FEF4CA}"/>
          </ac:spMkLst>
        </pc:spChg>
        <pc:spChg chg="add mod">
          <ac:chgData name="Zhu Arena, GFTIOV, BCOM" userId="a49f412c-db83-45d3-9142-dc597ff7d65b" providerId="ADAL" clId="{46FD2C16-79FF-4FFE-BCE3-742826F5B8DC}" dt="2023-06-15T09:22:27.651" v="5049" actId="207"/>
          <ac:spMkLst>
            <pc:docMk/>
            <pc:sldMk cId="1209251790" sldId="2147470812"/>
            <ac:spMk id="11" creationId="{3B61E866-826A-9301-CD76-0EF75ABF8E76}"/>
          </ac:spMkLst>
        </pc:spChg>
        <pc:spChg chg="add mod">
          <ac:chgData name="Zhu Arena, GFTIOV, BCOM" userId="a49f412c-db83-45d3-9142-dc597ff7d65b" providerId="ADAL" clId="{46FD2C16-79FF-4FFE-BCE3-742826F5B8DC}" dt="2023-06-15T09:11:55.012" v="5044" actId="14100"/>
          <ac:spMkLst>
            <pc:docMk/>
            <pc:sldMk cId="1209251790" sldId="2147470812"/>
            <ac:spMk id="12" creationId="{F89C79ED-0048-88EE-197F-08FD7464A8EE}"/>
          </ac:spMkLst>
        </pc:spChg>
        <pc:spChg chg="add mod">
          <ac:chgData name="Zhu Arena, GFTIOV, BCOM" userId="a49f412c-db83-45d3-9142-dc597ff7d65b" providerId="ADAL" clId="{46FD2C16-79FF-4FFE-BCE3-742826F5B8DC}" dt="2023-06-15T09:22:48.830" v="5054" actId="1076"/>
          <ac:spMkLst>
            <pc:docMk/>
            <pc:sldMk cId="1209251790" sldId="2147470812"/>
            <ac:spMk id="13" creationId="{4E231A0C-0D56-7E98-2F3A-F260A12E3D16}"/>
          </ac:spMkLst>
        </pc:spChg>
        <pc:spChg chg="add mod">
          <ac:chgData name="Zhu Arena, GFTIOV, BCOM" userId="a49f412c-db83-45d3-9142-dc597ff7d65b" providerId="ADAL" clId="{46FD2C16-79FF-4FFE-BCE3-742826F5B8DC}" dt="2023-06-15T09:22:42.462" v="5051" actId="1076"/>
          <ac:spMkLst>
            <pc:docMk/>
            <pc:sldMk cId="1209251790" sldId="2147470812"/>
            <ac:spMk id="14" creationId="{AF6410E6-D24E-925F-278A-8EAF1776B1B7}"/>
          </ac:spMkLst>
        </pc:spChg>
        <pc:spChg chg="add mod">
          <ac:chgData name="Zhu Arena, GFTIOV, BCOM" userId="a49f412c-db83-45d3-9142-dc597ff7d65b" providerId="ADAL" clId="{46FD2C16-79FF-4FFE-BCE3-742826F5B8DC}" dt="2023-06-15T09:22:58.144" v="5055" actId="1076"/>
          <ac:spMkLst>
            <pc:docMk/>
            <pc:sldMk cId="1209251790" sldId="2147470812"/>
            <ac:spMk id="15" creationId="{056F23C0-CC51-D0AE-1330-924F661F6894}"/>
          </ac:spMkLst>
        </pc:spChg>
        <pc:spChg chg="add mod">
          <ac:chgData name="Zhu Arena, GFTIOV, BCOM" userId="a49f412c-db83-45d3-9142-dc597ff7d65b" providerId="ADAL" clId="{46FD2C16-79FF-4FFE-BCE3-742826F5B8DC}" dt="2023-06-15T09:25:03.688" v="5079" actId="403"/>
          <ac:spMkLst>
            <pc:docMk/>
            <pc:sldMk cId="1209251790" sldId="2147470812"/>
            <ac:spMk id="17" creationId="{55977274-73A3-A816-11C5-433E63426B3A}"/>
          </ac:spMkLst>
        </pc:spChg>
        <pc:spChg chg="add mod">
          <ac:chgData name="Zhu Arena, GFTIOV, BCOM" userId="a49f412c-db83-45d3-9142-dc597ff7d65b" providerId="ADAL" clId="{46FD2C16-79FF-4FFE-BCE3-742826F5B8DC}" dt="2023-06-15T09:25:07.887" v="5080" actId="403"/>
          <ac:spMkLst>
            <pc:docMk/>
            <pc:sldMk cId="1209251790" sldId="2147470812"/>
            <ac:spMk id="19" creationId="{EE171267-291B-84F7-534F-FAA6B2E1F535}"/>
          </ac:spMkLst>
        </pc:spChg>
        <pc:spChg chg="add mod">
          <ac:chgData name="Zhu Arena, GFTIOV, BCOM" userId="a49f412c-db83-45d3-9142-dc597ff7d65b" providerId="ADAL" clId="{46FD2C16-79FF-4FFE-BCE3-742826F5B8DC}" dt="2023-06-15T09:41:21.716" v="5489" actId="1076"/>
          <ac:spMkLst>
            <pc:docMk/>
            <pc:sldMk cId="1209251790" sldId="2147470812"/>
            <ac:spMk id="20" creationId="{908F87E5-C106-E6B2-C66C-50F71F20489B}"/>
          </ac:spMkLst>
        </pc:spChg>
        <pc:graphicFrameChg chg="add mod modGraphic">
          <ac:chgData name="Zhu Arena, GFTIOV, BCOM" userId="a49f412c-db83-45d3-9142-dc597ff7d65b" providerId="ADAL" clId="{46FD2C16-79FF-4FFE-BCE3-742826F5B8DC}" dt="2023-06-15T10:05:44.626" v="5872" actId="20577"/>
          <ac:graphicFrameMkLst>
            <pc:docMk/>
            <pc:sldMk cId="1209251790" sldId="2147470812"/>
            <ac:graphicFrameMk id="7" creationId="{BF4B5A32-9694-2EF1-1814-2111E7C8CC6F}"/>
          </ac:graphicFrameMkLst>
        </pc:graphicFrameChg>
        <pc:picChg chg="add mod">
          <ac:chgData name="Zhu Arena, GFTIOV, BCOM" userId="a49f412c-db83-45d3-9142-dc597ff7d65b" providerId="ADAL" clId="{46FD2C16-79FF-4FFE-BCE3-742826F5B8DC}" dt="2023-06-15T09:08:56.837" v="5020"/>
          <ac:picMkLst>
            <pc:docMk/>
            <pc:sldMk cId="1209251790" sldId="2147470812"/>
            <ac:picMk id="4" creationId="{857D78F9-408E-9924-96F5-18F1FAD5606C}"/>
          </ac:picMkLst>
        </pc:picChg>
        <pc:picChg chg="add del mod ord">
          <ac:chgData name="Zhu Arena, GFTIOV, BCOM" userId="a49f412c-db83-45d3-9142-dc597ff7d65b" providerId="ADAL" clId="{46FD2C16-79FF-4FFE-BCE3-742826F5B8DC}" dt="2023-06-15T09:11:39.533" v="5040" actId="478"/>
          <ac:picMkLst>
            <pc:docMk/>
            <pc:sldMk cId="1209251790" sldId="2147470812"/>
            <ac:picMk id="5" creationId="{A0C5CFE7-98B3-A3F7-B8A2-EDE5D10D412A}"/>
          </ac:picMkLst>
        </pc:picChg>
        <pc:picChg chg="add mod">
          <ac:chgData name="Zhu Arena, GFTIOV, BCOM" userId="a49f412c-db83-45d3-9142-dc597ff7d65b" providerId="ADAL" clId="{46FD2C16-79FF-4FFE-BCE3-742826F5B8DC}" dt="2023-06-15T10:21:30.776" v="6188" actId="14100"/>
          <ac:picMkLst>
            <pc:docMk/>
            <pc:sldMk cId="1209251790" sldId="2147470812"/>
            <ac:picMk id="8" creationId="{E6EFEC8C-B73C-14C7-AB53-45393A33B00C}"/>
          </ac:picMkLst>
        </pc:picChg>
      </pc:sldChg>
      <pc:sldChg chg="addSp delSp modSp add mod">
        <pc:chgData name="Zhu Arena, GFTIOV, BCOM" userId="a49f412c-db83-45d3-9142-dc597ff7d65b" providerId="ADAL" clId="{46FD2C16-79FF-4FFE-BCE3-742826F5B8DC}" dt="2023-06-16T03:32:51.735" v="6859" actId="478"/>
        <pc:sldMkLst>
          <pc:docMk/>
          <pc:sldMk cId="3954499332" sldId="2147470813"/>
        </pc:sldMkLst>
        <pc:spChg chg="mod">
          <ac:chgData name="Zhu Arena, GFTIOV, BCOM" userId="a49f412c-db83-45d3-9142-dc597ff7d65b" providerId="ADAL" clId="{46FD2C16-79FF-4FFE-BCE3-742826F5B8DC}" dt="2023-06-16T03:32:49.273" v="6858" actId="313"/>
          <ac:spMkLst>
            <pc:docMk/>
            <pc:sldMk cId="3954499332" sldId="2147470813"/>
            <ac:spMk id="2" creationId="{00000000-0000-0000-0000-000000000000}"/>
          </ac:spMkLst>
        </pc:spChg>
        <pc:spChg chg="del">
          <ac:chgData name="Zhu Arena, GFTIOV, BCOM" userId="a49f412c-db83-45d3-9142-dc597ff7d65b" providerId="ADAL" clId="{46FD2C16-79FF-4FFE-BCE3-742826F5B8DC}" dt="2023-06-16T02:52:03.967" v="6276" actId="478"/>
          <ac:spMkLst>
            <pc:docMk/>
            <pc:sldMk cId="3954499332" sldId="2147470813"/>
            <ac:spMk id="3" creationId="{36F36EA6-11F0-1C6A-58DF-FF1202794A12}"/>
          </ac:spMkLst>
        </pc:spChg>
        <pc:spChg chg="del">
          <ac:chgData name="Zhu Arena, GFTIOV, BCOM" userId="a49f412c-db83-45d3-9142-dc597ff7d65b" providerId="ADAL" clId="{46FD2C16-79FF-4FFE-BCE3-742826F5B8DC}" dt="2023-06-16T02:51:59.420" v="6275" actId="478"/>
          <ac:spMkLst>
            <pc:docMk/>
            <pc:sldMk cId="3954499332" sldId="2147470813"/>
            <ac:spMk id="10" creationId="{053CBC10-19FB-1251-454D-76AAB32BFBBF}"/>
          </ac:spMkLst>
        </pc:spChg>
        <pc:spChg chg="add mod">
          <ac:chgData name="Zhu Arena, GFTIOV, BCOM" userId="a49f412c-db83-45d3-9142-dc597ff7d65b" providerId="ADAL" clId="{46FD2C16-79FF-4FFE-BCE3-742826F5B8DC}" dt="2023-06-16T03:27:02.925" v="6593" actId="164"/>
          <ac:spMkLst>
            <pc:docMk/>
            <pc:sldMk cId="3954499332" sldId="2147470813"/>
            <ac:spMk id="26" creationId="{CD12533E-D3BA-0E03-C3E4-D63592AF3C4D}"/>
          </ac:spMkLst>
        </pc:spChg>
        <pc:spChg chg="add mod">
          <ac:chgData name="Zhu Arena, GFTIOV, BCOM" userId="a49f412c-db83-45d3-9142-dc597ff7d65b" providerId="ADAL" clId="{46FD2C16-79FF-4FFE-BCE3-742826F5B8DC}" dt="2023-06-16T03:30:17.030" v="6665" actId="1076"/>
          <ac:spMkLst>
            <pc:docMk/>
            <pc:sldMk cId="3954499332" sldId="2147470813"/>
            <ac:spMk id="27" creationId="{B24D19C9-1315-D75B-5480-8705A7E73ADF}"/>
          </ac:spMkLst>
        </pc:spChg>
        <pc:spChg chg="add mod">
          <ac:chgData name="Zhu Arena, GFTIOV, BCOM" userId="a49f412c-db83-45d3-9142-dc597ff7d65b" providerId="ADAL" clId="{46FD2C16-79FF-4FFE-BCE3-742826F5B8DC}" dt="2023-06-16T03:27:11.297" v="6595" actId="1076"/>
          <ac:spMkLst>
            <pc:docMk/>
            <pc:sldMk cId="3954499332" sldId="2147470813"/>
            <ac:spMk id="30" creationId="{95CF204D-7834-1E81-8A49-DC3E17BBC49F}"/>
          </ac:spMkLst>
        </pc:spChg>
        <pc:spChg chg="add mod">
          <ac:chgData name="Zhu Arena, GFTIOV, BCOM" userId="a49f412c-db83-45d3-9142-dc597ff7d65b" providerId="ADAL" clId="{46FD2C16-79FF-4FFE-BCE3-742826F5B8DC}" dt="2023-06-16T03:30:19.965" v="6666" actId="1076"/>
          <ac:spMkLst>
            <pc:docMk/>
            <pc:sldMk cId="3954499332" sldId="2147470813"/>
            <ac:spMk id="31" creationId="{DFEFF1F1-6D63-0BD9-DDA8-FA0C20AD29FA}"/>
          </ac:spMkLst>
        </pc:spChg>
        <pc:spChg chg="add mod">
          <ac:chgData name="Zhu Arena, GFTIOV, BCOM" userId="a49f412c-db83-45d3-9142-dc597ff7d65b" providerId="ADAL" clId="{46FD2C16-79FF-4FFE-BCE3-742826F5B8DC}" dt="2023-06-16T03:30:34.232" v="6671" actId="1076"/>
          <ac:spMkLst>
            <pc:docMk/>
            <pc:sldMk cId="3954499332" sldId="2147470813"/>
            <ac:spMk id="33" creationId="{C629FDDC-D553-F2E9-FA08-3259B1AAE282}"/>
          </ac:spMkLst>
        </pc:spChg>
        <pc:spChg chg="add mod">
          <ac:chgData name="Zhu Arena, GFTIOV, BCOM" userId="a49f412c-db83-45d3-9142-dc597ff7d65b" providerId="ADAL" clId="{46FD2C16-79FF-4FFE-BCE3-742826F5B8DC}" dt="2023-06-16T03:30:40.672" v="6672" actId="1076"/>
          <ac:spMkLst>
            <pc:docMk/>
            <pc:sldMk cId="3954499332" sldId="2147470813"/>
            <ac:spMk id="35" creationId="{6AC05F50-68FF-DCA9-24B0-000DFB159128}"/>
          </ac:spMkLst>
        </pc:spChg>
        <pc:spChg chg="add del mod">
          <ac:chgData name="Zhu Arena, GFTIOV, BCOM" userId="a49f412c-db83-45d3-9142-dc597ff7d65b" providerId="ADAL" clId="{46FD2C16-79FF-4FFE-BCE3-742826F5B8DC}" dt="2023-06-16T03:32:51.735" v="6859" actId="478"/>
          <ac:spMkLst>
            <pc:docMk/>
            <pc:sldMk cId="3954499332" sldId="2147470813"/>
            <ac:spMk id="36" creationId="{E9555775-0F08-44F7-E09F-2A397476D869}"/>
          </ac:spMkLst>
        </pc:spChg>
        <pc:spChg chg="add mod">
          <ac:chgData name="Zhu Arena, GFTIOV, BCOM" userId="a49f412c-db83-45d3-9142-dc597ff7d65b" providerId="ADAL" clId="{46FD2C16-79FF-4FFE-BCE3-742826F5B8DC}" dt="2023-06-16T03:29:50.008" v="6657" actId="1076"/>
          <ac:spMkLst>
            <pc:docMk/>
            <pc:sldMk cId="3954499332" sldId="2147470813"/>
            <ac:spMk id="37" creationId="{99CC6F3A-D96C-984F-E4B2-8C7812830EB1}"/>
          </ac:spMkLst>
        </pc:spChg>
        <pc:spChg chg="add mod">
          <ac:chgData name="Zhu Arena, GFTIOV, BCOM" userId="a49f412c-db83-45d3-9142-dc597ff7d65b" providerId="ADAL" clId="{46FD2C16-79FF-4FFE-BCE3-742826F5B8DC}" dt="2023-06-16T03:26:33.091" v="6587" actId="164"/>
          <ac:spMkLst>
            <pc:docMk/>
            <pc:sldMk cId="3954499332" sldId="2147470813"/>
            <ac:spMk id="39" creationId="{E73670F0-8A8B-DEB5-3DC1-7CB1DF300C49}"/>
          </ac:spMkLst>
        </pc:spChg>
        <pc:spChg chg="add mod">
          <ac:chgData name="Zhu Arena, GFTIOV, BCOM" userId="a49f412c-db83-45d3-9142-dc597ff7d65b" providerId="ADAL" clId="{46FD2C16-79FF-4FFE-BCE3-742826F5B8DC}" dt="2023-06-16T03:29:23.441" v="6635" actId="1076"/>
          <ac:spMkLst>
            <pc:docMk/>
            <pc:sldMk cId="3954499332" sldId="2147470813"/>
            <ac:spMk id="42" creationId="{DC4EA406-D4BD-1A06-F47B-A2D27E759ED5}"/>
          </ac:spMkLst>
        </pc:spChg>
        <pc:spChg chg="add mod">
          <ac:chgData name="Zhu Arena, GFTIOV, BCOM" userId="a49f412c-db83-45d3-9142-dc597ff7d65b" providerId="ADAL" clId="{46FD2C16-79FF-4FFE-BCE3-742826F5B8DC}" dt="2023-06-16T03:29:04.490" v="6631" actId="1076"/>
          <ac:spMkLst>
            <pc:docMk/>
            <pc:sldMk cId="3954499332" sldId="2147470813"/>
            <ac:spMk id="43" creationId="{F8D6A2E2-827A-8C95-F70B-3B2137B33589}"/>
          </ac:spMkLst>
        </pc:spChg>
        <pc:spChg chg="add mod">
          <ac:chgData name="Zhu Arena, GFTIOV, BCOM" userId="a49f412c-db83-45d3-9142-dc597ff7d65b" providerId="ADAL" clId="{46FD2C16-79FF-4FFE-BCE3-742826F5B8DC}" dt="2023-06-16T03:29:39.669" v="6655" actId="1076"/>
          <ac:spMkLst>
            <pc:docMk/>
            <pc:sldMk cId="3954499332" sldId="2147470813"/>
            <ac:spMk id="45" creationId="{1352923A-8BD8-80FC-CC8E-F752F79C8036}"/>
          </ac:spMkLst>
        </pc:spChg>
        <pc:spChg chg="add mod">
          <ac:chgData name="Zhu Arena, GFTIOV, BCOM" userId="a49f412c-db83-45d3-9142-dc597ff7d65b" providerId="ADAL" clId="{46FD2C16-79FF-4FFE-BCE3-742826F5B8DC}" dt="2023-06-16T03:28:36.173" v="6625" actId="1076"/>
          <ac:spMkLst>
            <pc:docMk/>
            <pc:sldMk cId="3954499332" sldId="2147470813"/>
            <ac:spMk id="47" creationId="{56E743F3-48C8-2995-51AC-42C756A197F3}"/>
          </ac:spMkLst>
        </pc:spChg>
        <pc:grpChg chg="add mod">
          <ac:chgData name="Zhu Arena, GFTIOV, BCOM" userId="a49f412c-db83-45d3-9142-dc597ff7d65b" providerId="ADAL" clId="{46FD2C16-79FF-4FFE-BCE3-742826F5B8DC}" dt="2023-06-16T03:29:35.221" v="6654" actId="1038"/>
          <ac:grpSpMkLst>
            <pc:docMk/>
            <pc:sldMk cId="3954499332" sldId="2147470813"/>
            <ac:grpSpMk id="48" creationId="{8D9E221C-9826-C3D9-B80F-617753833A98}"/>
          </ac:grpSpMkLst>
        </pc:grpChg>
        <pc:grpChg chg="add mod">
          <ac:chgData name="Zhu Arena, GFTIOV, BCOM" userId="a49f412c-db83-45d3-9142-dc597ff7d65b" providerId="ADAL" clId="{46FD2C16-79FF-4FFE-BCE3-742826F5B8DC}" dt="2023-06-16T03:29:52.049" v="6658" actId="1076"/>
          <ac:grpSpMkLst>
            <pc:docMk/>
            <pc:sldMk cId="3954499332" sldId="2147470813"/>
            <ac:grpSpMk id="49" creationId="{8C462C9C-4439-0966-3128-70DC47F21511}"/>
          </ac:grpSpMkLst>
        </pc:grpChg>
        <pc:grpChg chg="add mod">
          <ac:chgData name="Zhu Arena, GFTIOV, BCOM" userId="a49f412c-db83-45d3-9142-dc597ff7d65b" providerId="ADAL" clId="{46FD2C16-79FF-4FFE-BCE3-742826F5B8DC}" dt="2023-06-16T03:29:50.008" v="6657" actId="1076"/>
          <ac:grpSpMkLst>
            <pc:docMk/>
            <pc:sldMk cId="3954499332" sldId="2147470813"/>
            <ac:grpSpMk id="50" creationId="{096BC7CF-A722-E503-6CE1-312F55086840}"/>
          </ac:grpSpMkLst>
        </pc:grpChg>
        <pc:grpChg chg="add mod">
          <ac:chgData name="Zhu Arena, GFTIOV, BCOM" userId="a49f412c-db83-45d3-9142-dc597ff7d65b" providerId="ADAL" clId="{46FD2C16-79FF-4FFE-BCE3-742826F5B8DC}" dt="2023-06-16T03:30:06.307" v="6661" actId="1076"/>
          <ac:grpSpMkLst>
            <pc:docMk/>
            <pc:sldMk cId="3954499332" sldId="2147470813"/>
            <ac:grpSpMk id="51" creationId="{48C42698-A3BE-9586-923C-B70CB0CB3C53}"/>
          </ac:grpSpMkLst>
        </pc:grpChg>
        <pc:grpChg chg="add mod">
          <ac:chgData name="Zhu Arena, GFTIOV, BCOM" userId="a49f412c-db83-45d3-9142-dc597ff7d65b" providerId="ADAL" clId="{46FD2C16-79FF-4FFE-BCE3-742826F5B8DC}" dt="2023-06-16T03:29:56.916" v="6659" actId="1076"/>
          <ac:grpSpMkLst>
            <pc:docMk/>
            <pc:sldMk cId="3954499332" sldId="2147470813"/>
            <ac:grpSpMk id="52" creationId="{06C616FA-57DF-8D15-0EBE-0691F3BC00A6}"/>
          </ac:grpSpMkLst>
        </pc:grpChg>
        <pc:grpChg chg="add mod">
          <ac:chgData name="Zhu Arena, GFTIOV, BCOM" userId="a49f412c-db83-45d3-9142-dc597ff7d65b" providerId="ADAL" clId="{46FD2C16-79FF-4FFE-BCE3-742826F5B8DC}" dt="2023-06-16T03:30:19.965" v="6666" actId="1076"/>
          <ac:grpSpMkLst>
            <pc:docMk/>
            <pc:sldMk cId="3954499332" sldId="2147470813"/>
            <ac:grpSpMk id="53" creationId="{5C233835-97C5-46F2-0C43-F92CD94FC855}"/>
          </ac:grpSpMkLst>
        </pc:grpChg>
        <pc:grpChg chg="add mod">
          <ac:chgData name="Zhu Arena, GFTIOV, BCOM" userId="a49f412c-db83-45d3-9142-dc597ff7d65b" providerId="ADAL" clId="{46FD2C16-79FF-4FFE-BCE3-742826F5B8DC}" dt="2023-06-16T03:30:22.734" v="6667" actId="1076"/>
          <ac:grpSpMkLst>
            <pc:docMk/>
            <pc:sldMk cId="3954499332" sldId="2147470813"/>
            <ac:grpSpMk id="54" creationId="{629F2A4E-74D7-19BE-460B-784B14214ECF}"/>
          </ac:grpSpMkLst>
        </pc:grpChg>
        <pc:grpChg chg="add mod">
          <ac:chgData name="Zhu Arena, GFTIOV, BCOM" userId="a49f412c-db83-45d3-9142-dc597ff7d65b" providerId="ADAL" clId="{46FD2C16-79FF-4FFE-BCE3-742826F5B8DC}" dt="2023-06-16T03:29:39.669" v="6655" actId="1076"/>
          <ac:grpSpMkLst>
            <pc:docMk/>
            <pc:sldMk cId="3954499332" sldId="2147470813"/>
            <ac:grpSpMk id="55" creationId="{E1E4A5B6-86D1-19CE-65EA-4C5FFFD00548}"/>
          </ac:grpSpMkLst>
        </pc:grpChg>
        <pc:grpChg chg="add mod">
          <ac:chgData name="Zhu Arena, GFTIOV, BCOM" userId="a49f412c-db83-45d3-9142-dc597ff7d65b" providerId="ADAL" clId="{46FD2C16-79FF-4FFE-BCE3-742826F5B8DC}" dt="2023-06-16T03:29:43.523" v="6656" actId="1076"/>
          <ac:grpSpMkLst>
            <pc:docMk/>
            <pc:sldMk cId="3954499332" sldId="2147470813"/>
            <ac:grpSpMk id="56" creationId="{D76A9EE5-5E23-DD7C-54F6-D80B6D7C44A2}"/>
          </ac:grpSpMkLst>
        </pc:grpChg>
        <pc:grpChg chg="add mod">
          <ac:chgData name="Zhu Arena, GFTIOV, BCOM" userId="a49f412c-db83-45d3-9142-dc597ff7d65b" providerId="ADAL" clId="{46FD2C16-79FF-4FFE-BCE3-742826F5B8DC}" dt="2023-06-16T03:29:59.607" v="6660" actId="1076"/>
          <ac:grpSpMkLst>
            <pc:docMk/>
            <pc:sldMk cId="3954499332" sldId="2147470813"/>
            <ac:grpSpMk id="57" creationId="{036E6869-82EB-A2CE-E481-2498A966D3D9}"/>
          </ac:grpSpMkLst>
        </pc:grpChg>
        <pc:grpChg chg="add mod">
          <ac:chgData name="Zhu Arena, GFTIOV, BCOM" userId="a49f412c-db83-45d3-9142-dc597ff7d65b" providerId="ADAL" clId="{46FD2C16-79FF-4FFE-BCE3-742826F5B8DC}" dt="2023-06-16T03:30:07.430" v="6662" actId="1076"/>
          <ac:grpSpMkLst>
            <pc:docMk/>
            <pc:sldMk cId="3954499332" sldId="2147470813"/>
            <ac:grpSpMk id="58" creationId="{593074E1-B63F-86F0-2295-EEC47E03496E}"/>
          </ac:grpSpMkLst>
        </pc:grpChg>
        <pc:grpChg chg="add mod">
          <ac:chgData name="Zhu Arena, GFTIOV, BCOM" userId="a49f412c-db83-45d3-9142-dc597ff7d65b" providerId="ADAL" clId="{46FD2C16-79FF-4FFE-BCE3-742826F5B8DC}" dt="2023-06-16T03:28:32.723" v="6624" actId="1076"/>
          <ac:grpSpMkLst>
            <pc:docMk/>
            <pc:sldMk cId="3954499332" sldId="2147470813"/>
            <ac:grpSpMk id="59" creationId="{2FBA5183-CC3E-DCA2-B8E1-12B585713707}"/>
          </ac:grpSpMkLst>
        </pc:grpChg>
        <pc:picChg chg="del">
          <ac:chgData name="Zhu Arena, GFTIOV, BCOM" userId="a49f412c-db83-45d3-9142-dc597ff7d65b" providerId="ADAL" clId="{46FD2C16-79FF-4FFE-BCE3-742826F5B8DC}" dt="2023-06-16T02:52:06.391" v="6278" actId="478"/>
          <ac:picMkLst>
            <pc:docMk/>
            <pc:sldMk cId="3954499332" sldId="2147470813"/>
            <ac:picMk id="5" creationId="{00000000-0000-0000-0000-000000000000}"/>
          </ac:picMkLst>
        </pc:picChg>
        <pc:picChg chg="mod">
          <ac:chgData name="Zhu Arena, GFTIOV, BCOM" userId="a49f412c-db83-45d3-9142-dc597ff7d65b" providerId="ADAL" clId="{46FD2C16-79FF-4FFE-BCE3-742826F5B8DC}" dt="2023-06-16T03:30:19.965" v="6666" actId="1076"/>
          <ac:picMkLst>
            <pc:docMk/>
            <pc:sldMk cId="3954499332" sldId="2147470813"/>
            <ac:picMk id="6" creationId="{00000000-0000-0000-0000-000000000000}"/>
          </ac:picMkLst>
        </pc:picChg>
        <pc:picChg chg="del mod">
          <ac:chgData name="Zhu Arena, GFTIOV, BCOM" userId="a49f412c-db83-45d3-9142-dc597ff7d65b" providerId="ADAL" clId="{46FD2C16-79FF-4FFE-BCE3-742826F5B8DC}" dt="2023-06-16T03:10:58.994" v="6365" actId="478"/>
          <ac:picMkLst>
            <pc:docMk/>
            <pc:sldMk cId="3954499332" sldId="2147470813"/>
            <ac:picMk id="7" creationId="{00000000-0000-0000-0000-000000000000}"/>
          </ac:picMkLst>
        </pc:picChg>
        <pc:picChg chg="del">
          <ac:chgData name="Zhu Arena, GFTIOV, BCOM" userId="a49f412c-db83-45d3-9142-dc597ff7d65b" providerId="ADAL" clId="{46FD2C16-79FF-4FFE-BCE3-742826F5B8DC}" dt="2023-06-16T02:52:24.048" v="6287" actId="478"/>
          <ac:picMkLst>
            <pc:docMk/>
            <pc:sldMk cId="3954499332" sldId="2147470813"/>
            <ac:picMk id="8" creationId="{00000000-0000-0000-0000-000000000000}"/>
          </ac:picMkLst>
        </pc:picChg>
        <pc:picChg chg="mod">
          <ac:chgData name="Zhu Arena, GFTIOV, BCOM" userId="a49f412c-db83-45d3-9142-dc597ff7d65b" providerId="ADAL" clId="{46FD2C16-79FF-4FFE-BCE3-742826F5B8DC}" dt="2023-06-16T03:29:50.008" v="6657" actId="1076"/>
          <ac:picMkLst>
            <pc:docMk/>
            <pc:sldMk cId="3954499332" sldId="2147470813"/>
            <ac:picMk id="9" creationId="{00000000-0000-0000-0000-000000000000}"/>
          </ac:picMkLst>
        </pc:picChg>
        <pc:picChg chg="del">
          <ac:chgData name="Zhu Arena, GFTIOV, BCOM" userId="a49f412c-db83-45d3-9142-dc597ff7d65b" providerId="ADAL" clId="{46FD2C16-79FF-4FFE-BCE3-742826F5B8DC}" dt="2023-06-16T02:52:05.185" v="6277" actId="478"/>
          <ac:picMkLst>
            <pc:docMk/>
            <pc:sldMk cId="3954499332" sldId="2147470813"/>
            <ac:picMk id="11" creationId="{00000000-0000-0000-0000-000000000000}"/>
          </ac:picMkLst>
        </pc:picChg>
        <pc:picChg chg="del">
          <ac:chgData name="Zhu Arena, GFTIOV, BCOM" userId="a49f412c-db83-45d3-9142-dc597ff7d65b" providerId="ADAL" clId="{46FD2C16-79FF-4FFE-BCE3-742826F5B8DC}" dt="2023-06-16T02:52:10.826" v="6280" actId="478"/>
          <ac:picMkLst>
            <pc:docMk/>
            <pc:sldMk cId="3954499332" sldId="2147470813"/>
            <ac:picMk id="12" creationId="{00000000-0000-0000-0000-000000000000}"/>
          </ac:picMkLst>
        </pc:picChg>
        <pc:picChg chg="del mod">
          <ac:chgData name="Zhu Arena, GFTIOV, BCOM" userId="a49f412c-db83-45d3-9142-dc597ff7d65b" providerId="ADAL" clId="{46FD2C16-79FF-4FFE-BCE3-742826F5B8DC}" dt="2023-06-16T03:05:49.726" v="6313" actId="478"/>
          <ac:picMkLst>
            <pc:docMk/>
            <pc:sldMk cId="3954499332" sldId="2147470813"/>
            <ac:picMk id="13" creationId="{00000000-0000-0000-0000-000000000000}"/>
          </ac:picMkLst>
        </pc:picChg>
        <pc:picChg chg="del">
          <ac:chgData name="Zhu Arena, GFTIOV, BCOM" userId="a49f412c-db83-45d3-9142-dc597ff7d65b" providerId="ADAL" clId="{46FD2C16-79FF-4FFE-BCE3-742826F5B8DC}" dt="2023-06-16T02:51:56.895" v="6274" actId="478"/>
          <ac:picMkLst>
            <pc:docMk/>
            <pc:sldMk cId="3954499332" sldId="2147470813"/>
            <ac:picMk id="14" creationId="{00000000-0000-0000-0000-000000000000}"/>
          </ac:picMkLst>
        </pc:picChg>
        <pc:picChg chg="del mod">
          <ac:chgData name="Zhu Arena, GFTIOV, BCOM" userId="a49f412c-db83-45d3-9142-dc597ff7d65b" providerId="ADAL" clId="{46FD2C16-79FF-4FFE-BCE3-742826F5B8DC}" dt="2023-06-16T03:10:55.773" v="6364" actId="478"/>
          <ac:picMkLst>
            <pc:docMk/>
            <pc:sldMk cId="3954499332" sldId="2147470813"/>
            <ac:picMk id="16" creationId="{00000000-0000-0000-0000-000000000000}"/>
          </ac:picMkLst>
        </pc:picChg>
        <pc:picChg chg="del mod">
          <ac:chgData name="Zhu Arena, GFTIOV, BCOM" userId="a49f412c-db83-45d3-9142-dc597ff7d65b" providerId="ADAL" clId="{46FD2C16-79FF-4FFE-BCE3-742826F5B8DC}" dt="2023-06-16T03:04:25.350" v="6305" actId="478"/>
          <ac:picMkLst>
            <pc:docMk/>
            <pc:sldMk cId="3954499332" sldId="2147470813"/>
            <ac:picMk id="17" creationId="{00000000-0000-0000-0000-000000000000}"/>
          </ac:picMkLst>
        </pc:picChg>
        <pc:picChg chg="del">
          <ac:chgData name="Zhu Arena, GFTIOV, BCOM" userId="a49f412c-db83-45d3-9142-dc597ff7d65b" providerId="ADAL" clId="{46FD2C16-79FF-4FFE-BCE3-742826F5B8DC}" dt="2023-06-16T02:52:09.895" v="6279" actId="478"/>
          <ac:picMkLst>
            <pc:docMk/>
            <pc:sldMk cId="3954499332" sldId="2147470813"/>
            <ac:picMk id="18" creationId="{00000000-0000-0000-0000-000000000000}"/>
          </ac:picMkLst>
        </pc:picChg>
        <pc:picChg chg="del">
          <ac:chgData name="Zhu Arena, GFTIOV, BCOM" userId="a49f412c-db83-45d3-9142-dc597ff7d65b" providerId="ADAL" clId="{46FD2C16-79FF-4FFE-BCE3-742826F5B8DC}" dt="2023-06-16T02:52:11.699" v="6281" actId="478"/>
          <ac:picMkLst>
            <pc:docMk/>
            <pc:sldMk cId="3954499332" sldId="2147470813"/>
            <ac:picMk id="19" creationId="{00000000-0000-0000-0000-000000000000}"/>
          </ac:picMkLst>
        </pc:picChg>
        <pc:picChg chg="add mod">
          <ac:chgData name="Zhu Arena, GFTIOV, BCOM" userId="a49f412c-db83-45d3-9142-dc597ff7d65b" providerId="ADAL" clId="{46FD2C16-79FF-4FFE-BCE3-742826F5B8DC}" dt="2023-06-16T03:30:12.451" v="6664" actId="1076"/>
          <ac:picMkLst>
            <pc:docMk/>
            <pc:sldMk cId="3954499332" sldId="2147470813"/>
            <ac:picMk id="20" creationId="{25F81F0B-F059-6FB3-44C6-5A264FB6B10B}"/>
          </ac:picMkLst>
        </pc:picChg>
        <pc:picChg chg="del">
          <ac:chgData name="Zhu Arena, GFTIOV, BCOM" userId="a49f412c-db83-45d3-9142-dc597ff7d65b" providerId="ADAL" clId="{46FD2C16-79FF-4FFE-BCE3-742826F5B8DC}" dt="2023-06-16T02:51:56.895" v="6274" actId="478"/>
          <ac:picMkLst>
            <pc:docMk/>
            <pc:sldMk cId="3954499332" sldId="2147470813"/>
            <ac:picMk id="21" creationId="{00000000-0000-0000-0000-000000000000}"/>
          </ac:picMkLst>
        </pc:picChg>
        <pc:picChg chg="mod">
          <ac:chgData name="Zhu Arena, GFTIOV, BCOM" userId="a49f412c-db83-45d3-9142-dc597ff7d65b" providerId="ADAL" clId="{46FD2C16-79FF-4FFE-BCE3-742826F5B8DC}" dt="2023-06-16T03:26:39.991" v="6589" actId="164"/>
          <ac:picMkLst>
            <pc:docMk/>
            <pc:sldMk cId="3954499332" sldId="2147470813"/>
            <ac:picMk id="22" creationId="{59CE1F03-CA7F-4211-A0B6-4F6F95C4BB2B}"/>
          </ac:picMkLst>
        </pc:picChg>
        <pc:picChg chg="del mod">
          <ac:chgData name="Zhu Arena, GFTIOV, BCOM" userId="a49f412c-db83-45d3-9142-dc597ff7d65b" providerId="ADAL" clId="{46FD2C16-79FF-4FFE-BCE3-742826F5B8DC}" dt="2023-06-16T03:10:28.067" v="6347" actId="478"/>
          <ac:picMkLst>
            <pc:docMk/>
            <pc:sldMk cId="3954499332" sldId="2147470813"/>
            <ac:picMk id="23" creationId="{FE2C0B03-2DC8-43E1-84C1-6E2E6109CC93}"/>
          </ac:picMkLst>
        </pc:picChg>
        <pc:picChg chg="add mod modCrop">
          <ac:chgData name="Zhu Arena, GFTIOV, BCOM" userId="a49f412c-db83-45d3-9142-dc597ff7d65b" providerId="ADAL" clId="{46FD2C16-79FF-4FFE-BCE3-742826F5B8DC}" dt="2023-06-16T03:29:19.283" v="6634" actId="1076"/>
          <ac:picMkLst>
            <pc:docMk/>
            <pc:sldMk cId="3954499332" sldId="2147470813"/>
            <ac:picMk id="24" creationId="{721E376F-CF1B-077F-5D75-B0F93D46CD4F}"/>
          </ac:picMkLst>
        </pc:picChg>
        <pc:picChg chg="add mod modCrop">
          <ac:chgData name="Zhu Arena, GFTIOV, BCOM" userId="a49f412c-db83-45d3-9142-dc597ff7d65b" providerId="ADAL" clId="{46FD2C16-79FF-4FFE-BCE3-742826F5B8DC}" dt="2023-06-16T03:27:08.374" v="6594" actId="164"/>
          <ac:picMkLst>
            <pc:docMk/>
            <pc:sldMk cId="3954499332" sldId="2147470813"/>
            <ac:picMk id="28" creationId="{A6199F46-D034-2F0B-6C7D-250F3B70A7AC}"/>
          </ac:picMkLst>
        </pc:picChg>
        <pc:picChg chg="del">
          <ac:chgData name="Zhu Arena, GFTIOV, BCOM" userId="a49f412c-db83-45d3-9142-dc597ff7d65b" providerId="ADAL" clId="{46FD2C16-79FF-4FFE-BCE3-742826F5B8DC}" dt="2023-06-16T02:51:56.895" v="6274" actId="478"/>
          <ac:picMkLst>
            <pc:docMk/>
            <pc:sldMk cId="3954499332" sldId="2147470813"/>
            <ac:picMk id="29" creationId="{77AC0C28-89A9-8FE3-ACDC-A6D27D728FDA}"/>
          </ac:picMkLst>
        </pc:picChg>
        <pc:picChg chg="add mod">
          <ac:chgData name="Zhu Arena, GFTIOV, BCOM" userId="a49f412c-db83-45d3-9142-dc597ff7d65b" providerId="ADAL" clId="{46FD2C16-79FF-4FFE-BCE3-742826F5B8DC}" dt="2023-06-16T03:30:31.132" v="6670" actId="1076"/>
          <ac:picMkLst>
            <pc:docMk/>
            <pc:sldMk cId="3954499332" sldId="2147470813"/>
            <ac:picMk id="32" creationId="{6F0A8D89-6C91-7421-6211-ED89F807AC6F}"/>
          </ac:picMkLst>
        </pc:picChg>
        <pc:picChg chg="del">
          <ac:chgData name="Zhu Arena, GFTIOV, BCOM" userId="a49f412c-db83-45d3-9142-dc597ff7d65b" providerId="ADAL" clId="{46FD2C16-79FF-4FFE-BCE3-742826F5B8DC}" dt="2023-06-16T02:51:56.895" v="6274" actId="478"/>
          <ac:picMkLst>
            <pc:docMk/>
            <pc:sldMk cId="3954499332" sldId="2147470813"/>
            <ac:picMk id="34" creationId="{85267EE8-DC95-B02C-2F5D-30C0EF55CF1C}"/>
          </ac:picMkLst>
        </pc:picChg>
        <pc:picChg chg="add mod">
          <ac:chgData name="Zhu Arena, GFTIOV, BCOM" userId="a49f412c-db83-45d3-9142-dc597ff7d65b" providerId="ADAL" clId="{46FD2C16-79FF-4FFE-BCE3-742826F5B8DC}" dt="2023-06-16T03:26:33.091" v="6587" actId="164"/>
          <ac:picMkLst>
            <pc:docMk/>
            <pc:sldMk cId="3954499332" sldId="2147470813"/>
            <ac:picMk id="38" creationId="{D49C39E7-846C-37E5-8EAA-3E989693BF06}"/>
          </ac:picMkLst>
        </pc:picChg>
        <pc:picChg chg="add mod">
          <ac:chgData name="Zhu Arena, GFTIOV, BCOM" userId="a49f412c-db83-45d3-9142-dc597ff7d65b" providerId="ADAL" clId="{46FD2C16-79FF-4FFE-BCE3-742826F5B8DC}" dt="2023-06-16T03:29:26.943" v="6636" actId="1076"/>
          <ac:picMkLst>
            <pc:docMk/>
            <pc:sldMk cId="3954499332" sldId="2147470813"/>
            <ac:picMk id="40" creationId="{FB23733A-7BA6-D177-7CA4-59519C494CB3}"/>
          </ac:picMkLst>
        </pc:picChg>
        <pc:picChg chg="add mod">
          <ac:chgData name="Zhu Arena, GFTIOV, BCOM" userId="a49f412c-db83-45d3-9142-dc597ff7d65b" providerId="ADAL" clId="{46FD2C16-79FF-4FFE-BCE3-742826F5B8DC}" dt="2023-06-16T03:26:19.496" v="6585" actId="164"/>
          <ac:picMkLst>
            <pc:docMk/>
            <pc:sldMk cId="3954499332" sldId="2147470813"/>
            <ac:picMk id="41" creationId="{F0FDC509-C2AC-58FB-22AF-DA3F7AAE7ACD}"/>
          </ac:picMkLst>
        </pc:picChg>
        <pc:picChg chg="add mod">
          <ac:chgData name="Zhu Arena, GFTIOV, BCOM" userId="a49f412c-db83-45d3-9142-dc597ff7d65b" providerId="ADAL" clId="{46FD2C16-79FF-4FFE-BCE3-742826F5B8DC}" dt="2023-06-16T03:29:30.492" v="6637" actId="1076"/>
          <ac:picMkLst>
            <pc:docMk/>
            <pc:sldMk cId="3954499332" sldId="2147470813"/>
            <ac:picMk id="46" creationId="{4E61A69A-20A6-1873-5C45-4EC54824102E}"/>
          </ac:picMkLst>
        </pc:picChg>
        <pc:picChg chg="add mod">
          <ac:chgData name="Zhu Arena, GFTIOV, BCOM" userId="a49f412c-db83-45d3-9142-dc597ff7d65b" providerId="ADAL" clId="{46FD2C16-79FF-4FFE-BCE3-742826F5B8DC}" dt="2023-06-16T03:29:39.669" v="6655" actId="1076"/>
          <ac:picMkLst>
            <pc:docMk/>
            <pc:sldMk cId="3954499332" sldId="2147470813"/>
            <ac:picMk id="1026" creationId="{7B486242-4336-E75E-2A0A-32818483EEAF}"/>
          </ac:picMkLst>
        </pc:picChg>
      </pc:sldChg>
      <pc:sldMasterChg chg="modSp mod delSldLayout">
        <pc:chgData name="Zhu Arena, GFTIOV, BCOM" userId="a49f412c-db83-45d3-9142-dc597ff7d65b" providerId="ADAL" clId="{46FD2C16-79FF-4FFE-BCE3-742826F5B8DC}" dt="2023-06-15T09:09:15.362" v="5023" actId="47"/>
        <pc:sldMasterMkLst>
          <pc:docMk/>
          <pc:sldMasterMk cId="171868809" sldId="2147483648"/>
        </pc:sldMasterMkLst>
        <pc:spChg chg="mod">
          <ac:chgData name="Zhu Arena, GFTIOV, BCOM" userId="a49f412c-db83-45d3-9142-dc597ff7d65b" providerId="ADAL" clId="{46FD2C16-79FF-4FFE-BCE3-742826F5B8DC}" dt="2023-06-15T08:00:14.604" v="4786"/>
          <ac:spMkLst>
            <pc:docMk/>
            <pc:sldMasterMk cId="171868809" sldId="2147483648"/>
            <ac:spMk id="3" creationId="{00000000-0000-0000-0000-000000000000}"/>
          </ac:spMkLst>
        </pc:spChg>
        <pc:spChg chg="mod">
          <ac:chgData name="Zhu Arena, GFTIOV, BCOM" userId="a49f412c-db83-45d3-9142-dc597ff7d65b" providerId="ADAL" clId="{46FD2C16-79FF-4FFE-BCE3-742826F5B8DC}" dt="2023-06-15T08:00:17.269" v="5002" actId="20577"/>
          <ac:spMkLst>
            <pc:docMk/>
            <pc:sldMasterMk cId="171868809" sldId="2147483648"/>
            <ac:spMk id="23" creationId="{46F4C0C9-C7AC-4AF5-9D58-246853194042}"/>
          </ac:spMkLst>
        </pc:spChg>
        <pc:sldLayoutChg chg="del">
          <pc:chgData name="Zhu Arena, GFTIOV, BCOM" userId="a49f412c-db83-45d3-9142-dc597ff7d65b" providerId="ADAL" clId="{46FD2C16-79FF-4FFE-BCE3-742826F5B8DC}" dt="2023-06-14T08:59:05.295" v="553" actId="47"/>
          <pc:sldLayoutMkLst>
            <pc:docMk/>
            <pc:sldMasterMk cId="171868809" sldId="2147483648"/>
            <pc:sldLayoutMk cId="3595367411" sldId="2147483751"/>
          </pc:sldLayoutMkLst>
        </pc:sldLayoutChg>
        <pc:sldLayoutChg chg="del">
          <pc:chgData name="Zhu Arena, GFTIOV, BCOM" userId="a49f412c-db83-45d3-9142-dc597ff7d65b" providerId="ADAL" clId="{46FD2C16-79FF-4FFE-BCE3-742826F5B8DC}" dt="2023-06-14T12:16:38.684" v="1531" actId="47"/>
          <pc:sldLayoutMkLst>
            <pc:docMk/>
            <pc:sldMasterMk cId="171868809" sldId="2147483648"/>
            <pc:sldLayoutMk cId="927612417" sldId="2147483753"/>
          </pc:sldLayoutMkLst>
        </pc:sldLayoutChg>
        <pc:sldLayoutChg chg="del">
          <pc:chgData name="Zhu Arena, GFTIOV, BCOM" userId="a49f412c-db83-45d3-9142-dc597ff7d65b" providerId="ADAL" clId="{46FD2C16-79FF-4FFE-BCE3-742826F5B8DC}" dt="2023-06-14T08:51:16.087" v="357" actId="47"/>
          <pc:sldLayoutMkLst>
            <pc:docMk/>
            <pc:sldMasterMk cId="171868809" sldId="2147483648"/>
            <pc:sldLayoutMk cId="1762220811" sldId="2147483753"/>
          </pc:sldLayoutMkLst>
        </pc:sldLayoutChg>
        <pc:sldLayoutChg chg="del">
          <pc:chgData name="Zhu Arena, GFTIOV, BCOM" userId="a49f412c-db83-45d3-9142-dc597ff7d65b" providerId="ADAL" clId="{46FD2C16-79FF-4FFE-BCE3-742826F5B8DC}" dt="2023-06-15T05:39:52.242" v="3410" actId="47"/>
          <pc:sldLayoutMkLst>
            <pc:docMk/>
            <pc:sldMasterMk cId="171868809" sldId="2147483648"/>
            <pc:sldLayoutMk cId="2442636033" sldId="2147483753"/>
          </pc:sldLayoutMkLst>
        </pc:sldLayoutChg>
        <pc:sldLayoutChg chg="del">
          <pc:chgData name="Zhu Arena, GFTIOV, BCOM" userId="a49f412c-db83-45d3-9142-dc597ff7d65b" providerId="ADAL" clId="{46FD2C16-79FF-4FFE-BCE3-742826F5B8DC}" dt="2023-06-15T09:09:15.362" v="5023" actId="47"/>
          <pc:sldLayoutMkLst>
            <pc:docMk/>
            <pc:sldMasterMk cId="171868809" sldId="2147483648"/>
            <pc:sldLayoutMk cId="3300484896" sldId="2147483753"/>
          </pc:sldLayoutMkLst>
        </pc:sldLayoutChg>
        <pc:sldLayoutChg chg="del">
          <pc:chgData name="Zhu Arena, GFTIOV, BCOM" userId="a49f412c-db83-45d3-9142-dc597ff7d65b" providerId="ADAL" clId="{46FD2C16-79FF-4FFE-BCE3-742826F5B8DC}" dt="2023-06-15T02:52:41.830" v="3144" actId="47"/>
          <pc:sldLayoutMkLst>
            <pc:docMk/>
            <pc:sldMasterMk cId="171868809" sldId="2147483648"/>
            <pc:sldLayoutMk cId="3491553496" sldId="2147483754"/>
          </pc:sldLayoutMkLst>
        </pc:sldLayoutChg>
        <pc:sldLayoutChg chg="del">
          <pc:chgData name="Zhu Arena, GFTIOV, BCOM" userId="a49f412c-db83-45d3-9142-dc597ff7d65b" providerId="ADAL" clId="{46FD2C16-79FF-4FFE-BCE3-742826F5B8DC}" dt="2023-06-15T02:52:40.348" v="3143" actId="47"/>
          <pc:sldLayoutMkLst>
            <pc:docMk/>
            <pc:sldMasterMk cId="171868809" sldId="2147483648"/>
            <pc:sldLayoutMk cId="3900068645" sldId="2147483755"/>
          </pc:sldLayoutMkLst>
        </pc:sldLayoutChg>
      </pc:sldMasterChg>
      <pc:sldMasterChg chg="del delSldLayout">
        <pc:chgData name="Zhu Arena, GFTIOV, BCOM" userId="a49f412c-db83-45d3-9142-dc597ff7d65b" providerId="ADAL" clId="{46FD2C16-79FF-4FFE-BCE3-742826F5B8DC}" dt="2023-06-15T05:15:35.461" v="3293" actId="47"/>
        <pc:sldMasterMkLst>
          <pc:docMk/>
          <pc:sldMasterMk cId="2334880213" sldId="2147483754"/>
        </pc:sldMasterMkLst>
        <pc:sldLayoutChg chg="del">
          <pc:chgData name="Zhu Arena, GFTIOV, BCOM" userId="a49f412c-db83-45d3-9142-dc597ff7d65b" providerId="ADAL" clId="{46FD2C16-79FF-4FFE-BCE3-742826F5B8DC}" dt="2023-06-15T05:15:35.461" v="3293" actId="47"/>
          <pc:sldLayoutMkLst>
            <pc:docMk/>
            <pc:sldMasterMk cId="2334880213" sldId="2147483754"/>
            <pc:sldLayoutMk cId="1698069937" sldId="2147483755"/>
          </pc:sldLayoutMkLst>
        </pc:sldLayoutChg>
        <pc:sldLayoutChg chg="del">
          <pc:chgData name="Zhu Arena, GFTIOV, BCOM" userId="a49f412c-db83-45d3-9142-dc597ff7d65b" providerId="ADAL" clId="{46FD2C16-79FF-4FFE-BCE3-742826F5B8DC}" dt="2023-06-15T05:15:35.461" v="3293" actId="47"/>
          <pc:sldLayoutMkLst>
            <pc:docMk/>
            <pc:sldMasterMk cId="2334880213" sldId="2147483754"/>
            <pc:sldLayoutMk cId="2002798169" sldId="2147483756"/>
          </pc:sldLayoutMkLst>
        </pc:sldLayoutChg>
        <pc:sldLayoutChg chg="del">
          <pc:chgData name="Zhu Arena, GFTIOV, BCOM" userId="a49f412c-db83-45d3-9142-dc597ff7d65b" providerId="ADAL" clId="{46FD2C16-79FF-4FFE-BCE3-742826F5B8DC}" dt="2023-06-15T05:15:35.461" v="3293" actId="47"/>
          <pc:sldLayoutMkLst>
            <pc:docMk/>
            <pc:sldMasterMk cId="2334880213" sldId="2147483754"/>
            <pc:sldLayoutMk cId="1453288641" sldId="2147483757"/>
          </pc:sldLayoutMkLst>
        </pc:sldLayoutChg>
        <pc:sldLayoutChg chg="del">
          <pc:chgData name="Zhu Arena, GFTIOV, BCOM" userId="a49f412c-db83-45d3-9142-dc597ff7d65b" providerId="ADAL" clId="{46FD2C16-79FF-4FFE-BCE3-742826F5B8DC}" dt="2023-06-15T05:15:35.461" v="3293" actId="47"/>
          <pc:sldLayoutMkLst>
            <pc:docMk/>
            <pc:sldMasterMk cId="2334880213" sldId="2147483754"/>
            <pc:sldLayoutMk cId="2160361543" sldId="2147483758"/>
          </pc:sldLayoutMkLst>
        </pc:sldLayoutChg>
        <pc:sldLayoutChg chg="del">
          <pc:chgData name="Zhu Arena, GFTIOV, BCOM" userId="a49f412c-db83-45d3-9142-dc597ff7d65b" providerId="ADAL" clId="{46FD2C16-79FF-4FFE-BCE3-742826F5B8DC}" dt="2023-06-15T05:15:35.461" v="3293" actId="47"/>
          <pc:sldLayoutMkLst>
            <pc:docMk/>
            <pc:sldMasterMk cId="2334880213" sldId="2147483754"/>
            <pc:sldLayoutMk cId="347736661" sldId="2147483759"/>
          </pc:sldLayoutMkLst>
        </pc:sldLayoutChg>
        <pc:sldLayoutChg chg="del">
          <pc:chgData name="Zhu Arena, GFTIOV, BCOM" userId="a49f412c-db83-45d3-9142-dc597ff7d65b" providerId="ADAL" clId="{46FD2C16-79FF-4FFE-BCE3-742826F5B8DC}" dt="2023-06-15T05:15:35.461" v="3293" actId="47"/>
          <pc:sldLayoutMkLst>
            <pc:docMk/>
            <pc:sldMasterMk cId="2334880213" sldId="2147483754"/>
            <pc:sldLayoutMk cId="1634934223" sldId="2147483760"/>
          </pc:sldLayoutMkLst>
        </pc:sldLayoutChg>
        <pc:sldLayoutChg chg="del">
          <pc:chgData name="Zhu Arena, GFTIOV, BCOM" userId="a49f412c-db83-45d3-9142-dc597ff7d65b" providerId="ADAL" clId="{46FD2C16-79FF-4FFE-BCE3-742826F5B8DC}" dt="2023-06-15T05:15:35.461" v="3293" actId="47"/>
          <pc:sldLayoutMkLst>
            <pc:docMk/>
            <pc:sldMasterMk cId="2334880213" sldId="2147483754"/>
            <pc:sldLayoutMk cId="3556864557" sldId="2147483761"/>
          </pc:sldLayoutMkLst>
        </pc:sldLayoutChg>
        <pc:sldLayoutChg chg="del">
          <pc:chgData name="Zhu Arena, GFTIOV, BCOM" userId="a49f412c-db83-45d3-9142-dc597ff7d65b" providerId="ADAL" clId="{46FD2C16-79FF-4FFE-BCE3-742826F5B8DC}" dt="2023-06-15T05:15:35.461" v="3293" actId="47"/>
          <pc:sldLayoutMkLst>
            <pc:docMk/>
            <pc:sldMasterMk cId="2334880213" sldId="2147483754"/>
            <pc:sldLayoutMk cId="1524263186" sldId="2147483762"/>
          </pc:sldLayoutMkLst>
        </pc:sldLayoutChg>
        <pc:sldLayoutChg chg="del">
          <pc:chgData name="Zhu Arena, GFTIOV, BCOM" userId="a49f412c-db83-45d3-9142-dc597ff7d65b" providerId="ADAL" clId="{46FD2C16-79FF-4FFE-BCE3-742826F5B8DC}" dt="2023-06-15T05:15:35.461" v="3293" actId="47"/>
          <pc:sldLayoutMkLst>
            <pc:docMk/>
            <pc:sldMasterMk cId="2334880213" sldId="2147483754"/>
            <pc:sldLayoutMk cId="2227919869" sldId="2147483763"/>
          </pc:sldLayoutMkLst>
        </pc:sldLayoutChg>
        <pc:sldLayoutChg chg="del">
          <pc:chgData name="Zhu Arena, GFTIOV, BCOM" userId="a49f412c-db83-45d3-9142-dc597ff7d65b" providerId="ADAL" clId="{46FD2C16-79FF-4FFE-BCE3-742826F5B8DC}" dt="2023-06-15T05:15:35.461" v="3293" actId="47"/>
          <pc:sldLayoutMkLst>
            <pc:docMk/>
            <pc:sldMasterMk cId="2334880213" sldId="2147483754"/>
            <pc:sldLayoutMk cId="3229739365" sldId="2147483764"/>
          </pc:sldLayoutMkLst>
        </pc:sldLayoutChg>
        <pc:sldLayoutChg chg="del">
          <pc:chgData name="Zhu Arena, GFTIOV, BCOM" userId="a49f412c-db83-45d3-9142-dc597ff7d65b" providerId="ADAL" clId="{46FD2C16-79FF-4FFE-BCE3-742826F5B8DC}" dt="2023-06-15T05:15:35.461" v="3293" actId="47"/>
          <pc:sldLayoutMkLst>
            <pc:docMk/>
            <pc:sldMasterMk cId="2334880213" sldId="2147483754"/>
            <pc:sldLayoutMk cId="253006994" sldId="2147483765"/>
          </pc:sldLayoutMkLst>
        </pc:sldLayoutChg>
        <pc:sldLayoutChg chg="del">
          <pc:chgData name="Zhu Arena, GFTIOV, BCOM" userId="a49f412c-db83-45d3-9142-dc597ff7d65b" providerId="ADAL" clId="{46FD2C16-79FF-4FFE-BCE3-742826F5B8DC}" dt="2023-06-15T05:15:35.461" v="3293" actId="47"/>
          <pc:sldLayoutMkLst>
            <pc:docMk/>
            <pc:sldMasterMk cId="2334880213" sldId="2147483754"/>
            <pc:sldLayoutMk cId="2220957853" sldId="2147483766"/>
          </pc:sldLayoutMkLst>
        </pc:sldLayoutChg>
        <pc:sldLayoutChg chg="del">
          <pc:chgData name="Zhu Arena, GFTIOV, BCOM" userId="a49f412c-db83-45d3-9142-dc597ff7d65b" providerId="ADAL" clId="{46FD2C16-79FF-4FFE-BCE3-742826F5B8DC}" dt="2023-06-15T05:15:35.461" v="3293" actId="47"/>
          <pc:sldLayoutMkLst>
            <pc:docMk/>
            <pc:sldMasterMk cId="2334880213" sldId="2147483754"/>
            <pc:sldLayoutMk cId="2511272559" sldId="2147483767"/>
          </pc:sldLayoutMkLst>
        </pc:sldLayoutChg>
      </pc:sldMasterChg>
    </pc:docChg>
  </pc:docChgLst>
  <pc:docChgLst>
    <pc:chgData name="Zhu Arena, GFTIOV, BCOM" userId="a49f412c-db83-45d3-9142-dc597ff7d65b" providerId="ADAL" clId="{5B98A539-8DC4-4EF2-9B1A-FD031484DCA4}"/>
    <pc:docChg chg="undo redo custSel addSld modSld sldOrd">
      <pc:chgData name="Zhu Arena, GFTIOV, BCOM" userId="a49f412c-db83-45d3-9142-dc597ff7d65b" providerId="ADAL" clId="{5B98A539-8DC4-4EF2-9B1A-FD031484DCA4}" dt="2023-06-13T12:23:10.631" v="966"/>
      <pc:docMkLst>
        <pc:docMk/>
      </pc:docMkLst>
      <pc:sldChg chg="modSp mod">
        <pc:chgData name="Zhu Arena, GFTIOV, BCOM" userId="a49f412c-db83-45d3-9142-dc597ff7d65b" providerId="ADAL" clId="{5B98A539-8DC4-4EF2-9B1A-FD031484DCA4}" dt="2023-06-13T04:58:41.794" v="338" actId="20577"/>
        <pc:sldMkLst>
          <pc:docMk/>
          <pc:sldMk cId="981649606" sldId="272"/>
        </pc:sldMkLst>
        <pc:spChg chg="mod">
          <ac:chgData name="Zhu Arena, GFTIOV, BCOM" userId="a49f412c-db83-45d3-9142-dc597ff7d65b" providerId="ADAL" clId="{5B98A539-8DC4-4EF2-9B1A-FD031484DCA4}" dt="2023-06-13T04:58:41.794" v="338" actId="20577"/>
          <ac:spMkLst>
            <pc:docMk/>
            <pc:sldMk cId="981649606" sldId="272"/>
            <ac:spMk id="6" creationId="{59B695E8-2147-2579-FC89-B0E4B5557C2A}"/>
          </ac:spMkLst>
        </pc:spChg>
      </pc:sldChg>
      <pc:sldChg chg="addSp delSp modSp mod">
        <pc:chgData name="Zhu Arena, GFTIOV, BCOM" userId="a49f412c-db83-45d3-9142-dc597ff7d65b" providerId="ADAL" clId="{5B98A539-8DC4-4EF2-9B1A-FD031484DCA4}" dt="2023-06-13T00:25:46.338" v="18" actId="20577"/>
        <pc:sldMkLst>
          <pc:docMk/>
          <pc:sldMk cId="3551752779" sldId="455"/>
        </pc:sldMkLst>
        <pc:spChg chg="mod">
          <ac:chgData name="Zhu Arena, GFTIOV, BCOM" userId="a49f412c-db83-45d3-9142-dc597ff7d65b" providerId="ADAL" clId="{5B98A539-8DC4-4EF2-9B1A-FD031484DCA4}" dt="2023-06-13T00:25:09.983" v="5" actId="403"/>
          <ac:spMkLst>
            <pc:docMk/>
            <pc:sldMk cId="3551752779" sldId="455"/>
            <ac:spMk id="2" creationId="{892E2806-3CB7-4EEE-A1F0-1BE43A839588}"/>
          </ac:spMkLst>
        </pc:spChg>
        <pc:spChg chg="mod">
          <ac:chgData name="Zhu Arena, GFTIOV, BCOM" userId="a49f412c-db83-45d3-9142-dc597ff7d65b" providerId="ADAL" clId="{5B98A539-8DC4-4EF2-9B1A-FD031484DCA4}" dt="2023-06-13T00:25:44.366" v="17" actId="20577"/>
          <ac:spMkLst>
            <pc:docMk/>
            <pc:sldMk cId="3551752779" sldId="455"/>
            <ac:spMk id="11" creationId="{6E4BA49A-FDE7-4760-BE69-42C864F587E8}"/>
          </ac:spMkLst>
        </pc:spChg>
        <pc:spChg chg="mod">
          <ac:chgData name="Zhu Arena, GFTIOV, BCOM" userId="a49f412c-db83-45d3-9142-dc597ff7d65b" providerId="ADAL" clId="{5B98A539-8DC4-4EF2-9B1A-FD031484DCA4}" dt="2023-06-13T00:25:41.779" v="16" actId="20577"/>
          <ac:spMkLst>
            <pc:docMk/>
            <pc:sldMk cId="3551752779" sldId="455"/>
            <ac:spMk id="14" creationId="{D4EAF02E-228D-4450-9331-C40F585DF3AC}"/>
          </ac:spMkLst>
        </pc:spChg>
        <pc:spChg chg="mod">
          <ac:chgData name="Zhu Arena, GFTIOV, BCOM" userId="a49f412c-db83-45d3-9142-dc597ff7d65b" providerId="ADAL" clId="{5B98A539-8DC4-4EF2-9B1A-FD031484DCA4}" dt="2023-06-13T00:25:46.338" v="18" actId="20577"/>
          <ac:spMkLst>
            <pc:docMk/>
            <pc:sldMk cId="3551752779" sldId="455"/>
            <ac:spMk id="17" creationId="{E2AC50CB-A087-4F18-91F7-D1C875C141E2}"/>
          </ac:spMkLst>
        </pc:spChg>
        <pc:spChg chg="del">
          <ac:chgData name="Zhu Arena, GFTIOV, BCOM" userId="a49f412c-db83-45d3-9142-dc597ff7d65b" providerId="ADAL" clId="{5B98A539-8DC4-4EF2-9B1A-FD031484DCA4}" dt="2023-06-13T00:25:15.750" v="6" actId="478"/>
          <ac:spMkLst>
            <pc:docMk/>
            <pc:sldMk cId="3551752779" sldId="455"/>
            <ac:spMk id="18" creationId="{974073B8-86C0-4D7C-8463-2A124C5C1262}"/>
          </ac:spMkLst>
        </pc:spChg>
        <pc:spChg chg="del">
          <ac:chgData name="Zhu Arena, GFTIOV, BCOM" userId="a49f412c-db83-45d3-9142-dc597ff7d65b" providerId="ADAL" clId="{5B98A539-8DC4-4EF2-9B1A-FD031484DCA4}" dt="2023-06-13T00:25:34.592" v="14" actId="478"/>
          <ac:spMkLst>
            <pc:docMk/>
            <pc:sldMk cId="3551752779" sldId="455"/>
            <ac:spMk id="19" creationId="{39919CE4-650F-4AF8-8785-540708D84E3B}"/>
          </ac:spMkLst>
        </pc:spChg>
        <pc:spChg chg="del">
          <ac:chgData name="Zhu Arena, GFTIOV, BCOM" userId="a49f412c-db83-45d3-9142-dc597ff7d65b" providerId="ADAL" clId="{5B98A539-8DC4-4EF2-9B1A-FD031484DCA4}" dt="2023-06-13T00:25:17.397" v="7" actId="478"/>
          <ac:spMkLst>
            <pc:docMk/>
            <pc:sldMk cId="3551752779" sldId="455"/>
            <ac:spMk id="20" creationId="{70667E7F-0475-4FF5-8226-A2183F117E83}"/>
          </ac:spMkLst>
        </pc:spChg>
        <pc:spChg chg="del">
          <ac:chgData name="Zhu Arena, GFTIOV, BCOM" userId="a49f412c-db83-45d3-9142-dc597ff7d65b" providerId="ADAL" clId="{5B98A539-8DC4-4EF2-9B1A-FD031484DCA4}" dt="2023-06-13T00:25:29.482" v="12" actId="478"/>
          <ac:spMkLst>
            <pc:docMk/>
            <pc:sldMk cId="3551752779" sldId="455"/>
            <ac:spMk id="21" creationId="{DCBBABD2-D553-4943-A0AC-9765BB00DC71}"/>
          </ac:spMkLst>
        </pc:spChg>
        <pc:spChg chg="del">
          <ac:chgData name="Zhu Arena, GFTIOV, BCOM" userId="a49f412c-db83-45d3-9142-dc597ff7d65b" providerId="ADAL" clId="{5B98A539-8DC4-4EF2-9B1A-FD031484DCA4}" dt="2023-06-13T00:25:19.261" v="8" actId="478"/>
          <ac:spMkLst>
            <pc:docMk/>
            <pc:sldMk cId="3551752779" sldId="455"/>
            <ac:spMk id="22" creationId="{7AE1786C-776B-4471-AB4D-E30F35A10E33}"/>
          </ac:spMkLst>
        </pc:spChg>
        <pc:spChg chg="del">
          <ac:chgData name="Zhu Arena, GFTIOV, BCOM" userId="a49f412c-db83-45d3-9142-dc597ff7d65b" providerId="ADAL" clId="{5B98A539-8DC4-4EF2-9B1A-FD031484DCA4}" dt="2023-06-13T00:25:21.779" v="9" actId="478"/>
          <ac:spMkLst>
            <pc:docMk/>
            <pc:sldMk cId="3551752779" sldId="455"/>
            <ac:spMk id="23" creationId="{3C0F2959-CB34-4966-B37D-E8C5416CBEF1}"/>
          </ac:spMkLst>
        </pc:spChg>
        <pc:spChg chg="del">
          <ac:chgData name="Zhu Arena, GFTIOV, BCOM" userId="a49f412c-db83-45d3-9142-dc597ff7d65b" providerId="ADAL" clId="{5B98A539-8DC4-4EF2-9B1A-FD031484DCA4}" dt="2023-06-13T00:25:37.062" v="15" actId="478"/>
          <ac:spMkLst>
            <pc:docMk/>
            <pc:sldMk cId="3551752779" sldId="455"/>
            <ac:spMk id="24" creationId="{8E583677-DB0A-4A74-96FB-6AF92DB83413}"/>
          </ac:spMkLst>
        </pc:spChg>
        <pc:spChg chg="del">
          <ac:chgData name="Zhu Arena, GFTIOV, BCOM" userId="a49f412c-db83-45d3-9142-dc597ff7d65b" providerId="ADAL" clId="{5B98A539-8DC4-4EF2-9B1A-FD031484DCA4}" dt="2023-06-13T00:25:31.733" v="13" actId="478"/>
          <ac:spMkLst>
            <pc:docMk/>
            <pc:sldMk cId="3551752779" sldId="455"/>
            <ac:spMk id="25" creationId="{FDB262DC-9B48-4B2F-878B-6BAC8873226A}"/>
          </ac:spMkLst>
        </pc:spChg>
        <pc:picChg chg="add del">
          <ac:chgData name="Zhu Arena, GFTIOV, BCOM" userId="a49f412c-db83-45d3-9142-dc597ff7d65b" providerId="ADAL" clId="{5B98A539-8DC4-4EF2-9B1A-FD031484DCA4}" dt="2023-06-13T00:25:25.398" v="11" actId="478"/>
          <ac:picMkLst>
            <pc:docMk/>
            <pc:sldMk cId="3551752779" sldId="455"/>
            <ac:picMk id="5" creationId="{3BB899FB-52CF-4F78-B10D-60D432D9F11A}"/>
          </ac:picMkLst>
        </pc:picChg>
      </pc:sldChg>
      <pc:sldChg chg="modSp mod ord">
        <pc:chgData name="Zhu Arena, GFTIOV, BCOM" userId="a49f412c-db83-45d3-9142-dc597ff7d65b" providerId="ADAL" clId="{5B98A539-8DC4-4EF2-9B1A-FD031484DCA4}" dt="2023-06-13T11:29:17.335" v="368" actId="20577"/>
        <pc:sldMkLst>
          <pc:docMk/>
          <pc:sldMk cId="4210942265" sldId="471"/>
        </pc:sldMkLst>
        <pc:spChg chg="mod">
          <ac:chgData name="Zhu Arena, GFTIOV, BCOM" userId="a49f412c-db83-45d3-9142-dc597ff7d65b" providerId="ADAL" clId="{5B98A539-8DC4-4EF2-9B1A-FD031484DCA4}" dt="2023-06-13T11:29:17.335" v="368" actId="20577"/>
          <ac:spMkLst>
            <pc:docMk/>
            <pc:sldMk cId="4210942265" sldId="471"/>
            <ac:spMk id="2" creationId="{E7F7CE69-0863-46E7-3C8B-35142B329FAE}"/>
          </ac:spMkLst>
        </pc:spChg>
        <pc:spChg chg="mod">
          <ac:chgData name="Zhu Arena, GFTIOV, BCOM" userId="a49f412c-db83-45d3-9142-dc597ff7d65b" providerId="ADAL" clId="{5B98A539-8DC4-4EF2-9B1A-FD031484DCA4}" dt="2023-06-13T11:28:50.269" v="361"/>
          <ac:spMkLst>
            <pc:docMk/>
            <pc:sldMk cId="4210942265" sldId="471"/>
            <ac:spMk id="10" creationId="{00000000-0000-0000-0000-000000000000}"/>
          </ac:spMkLst>
        </pc:spChg>
      </pc:sldChg>
      <pc:sldChg chg="modSp mod ord modShow">
        <pc:chgData name="Zhu Arena, GFTIOV, BCOM" userId="a49f412c-db83-45d3-9142-dc597ff7d65b" providerId="ADAL" clId="{5B98A539-8DC4-4EF2-9B1A-FD031484DCA4}" dt="2023-06-13T11:33:21.558" v="372"/>
        <pc:sldMkLst>
          <pc:docMk/>
          <pc:sldMk cId="3385592778" sldId="473"/>
        </pc:sldMkLst>
        <pc:spChg chg="mod">
          <ac:chgData name="Zhu Arena, GFTIOV, BCOM" userId="a49f412c-db83-45d3-9142-dc597ff7d65b" providerId="ADAL" clId="{5B98A539-8DC4-4EF2-9B1A-FD031484DCA4}" dt="2023-06-13T00:28:28.474" v="51" actId="403"/>
          <ac:spMkLst>
            <pc:docMk/>
            <pc:sldMk cId="3385592778" sldId="473"/>
            <ac:spMk id="2" creationId="{00000000-0000-0000-0000-000000000000}"/>
          </ac:spMkLst>
        </pc:spChg>
        <pc:spChg chg="mod">
          <ac:chgData name="Zhu Arena, GFTIOV, BCOM" userId="a49f412c-db83-45d3-9142-dc597ff7d65b" providerId="ADAL" clId="{5B98A539-8DC4-4EF2-9B1A-FD031484DCA4}" dt="2023-06-13T00:29:49.483" v="66" actId="1076"/>
          <ac:spMkLst>
            <pc:docMk/>
            <pc:sldMk cId="3385592778" sldId="473"/>
            <ac:spMk id="11" creationId="{00000000-0000-0000-0000-000000000000}"/>
          </ac:spMkLst>
        </pc:spChg>
        <pc:spChg chg="mod">
          <ac:chgData name="Zhu Arena, GFTIOV, BCOM" userId="a49f412c-db83-45d3-9142-dc597ff7d65b" providerId="ADAL" clId="{5B98A539-8DC4-4EF2-9B1A-FD031484DCA4}" dt="2023-06-13T00:29:27.898" v="56" actId="403"/>
          <ac:spMkLst>
            <pc:docMk/>
            <pc:sldMk cId="3385592778" sldId="473"/>
            <ac:spMk id="20" creationId="{00000000-0000-0000-0000-000000000000}"/>
          </ac:spMkLst>
        </pc:spChg>
        <pc:spChg chg="mod">
          <ac:chgData name="Zhu Arena, GFTIOV, BCOM" userId="a49f412c-db83-45d3-9142-dc597ff7d65b" providerId="ADAL" clId="{5B98A539-8DC4-4EF2-9B1A-FD031484DCA4}" dt="2023-06-13T00:29:27.898" v="56" actId="403"/>
          <ac:spMkLst>
            <pc:docMk/>
            <pc:sldMk cId="3385592778" sldId="473"/>
            <ac:spMk id="21" creationId="{00000000-0000-0000-0000-000000000000}"/>
          </ac:spMkLst>
        </pc:spChg>
        <pc:spChg chg="mod">
          <ac:chgData name="Zhu Arena, GFTIOV, BCOM" userId="a49f412c-db83-45d3-9142-dc597ff7d65b" providerId="ADAL" clId="{5B98A539-8DC4-4EF2-9B1A-FD031484DCA4}" dt="2023-06-13T00:29:27.898" v="56" actId="403"/>
          <ac:spMkLst>
            <pc:docMk/>
            <pc:sldMk cId="3385592778" sldId="473"/>
            <ac:spMk id="22" creationId="{00000000-0000-0000-0000-000000000000}"/>
          </ac:spMkLst>
        </pc:spChg>
        <pc:spChg chg="mod">
          <ac:chgData name="Zhu Arena, GFTIOV, BCOM" userId="a49f412c-db83-45d3-9142-dc597ff7d65b" providerId="ADAL" clId="{5B98A539-8DC4-4EF2-9B1A-FD031484DCA4}" dt="2023-06-13T00:29:27.898" v="56" actId="403"/>
          <ac:spMkLst>
            <pc:docMk/>
            <pc:sldMk cId="3385592778" sldId="473"/>
            <ac:spMk id="23" creationId="{00000000-0000-0000-0000-000000000000}"/>
          </ac:spMkLst>
        </pc:spChg>
        <pc:spChg chg="mod">
          <ac:chgData name="Zhu Arena, GFTIOV, BCOM" userId="a49f412c-db83-45d3-9142-dc597ff7d65b" providerId="ADAL" clId="{5B98A539-8DC4-4EF2-9B1A-FD031484DCA4}" dt="2023-06-13T00:29:35.011" v="58" actId="20577"/>
          <ac:spMkLst>
            <pc:docMk/>
            <pc:sldMk cId="3385592778" sldId="473"/>
            <ac:spMk id="48" creationId="{00000000-0000-0000-0000-000000000000}"/>
          </ac:spMkLst>
        </pc:spChg>
        <pc:spChg chg="mod">
          <ac:chgData name="Zhu Arena, GFTIOV, BCOM" userId="a49f412c-db83-45d3-9142-dc597ff7d65b" providerId="ADAL" clId="{5B98A539-8DC4-4EF2-9B1A-FD031484DCA4}" dt="2023-06-13T00:29:30.910" v="57" actId="20577"/>
          <ac:spMkLst>
            <pc:docMk/>
            <pc:sldMk cId="3385592778" sldId="473"/>
            <ac:spMk id="51" creationId="{00000000-0000-0000-0000-000000000000}"/>
          </ac:spMkLst>
        </pc:spChg>
        <pc:spChg chg="mod">
          <ac:chgData name="Zhu Arena, GFTIOV, BCOM" userId="a49f412c-db83-45d3-9142-dc597ff7d65b" providerId="ADAL" clId="{5B98A539-8DC4-4EF2-9B1A-FD031484DCA4}" dt="2023-06-13T00:29:55.902" v="69" actId="6549"/>
          <ac:spMkLst>
            <pc:docMk/>
            <pc:sldMk cId="3385592778" sldId="473"/>
            <ac:spMk id="65" creationId="{00000000-0000-0000-0000-000000000000}"/>
          </ac:spMkLst>
        </pc:spChg>
        <pc:spChg chg="mod">
          <ac:chgData name="Zhu Arena, GFTIOV, BCOM" userId="a49f412c-db83-45d3-9142-dc597ff7d65b" providerId="ADAL" clId="{5B98A539-8DC4-4EF2-9B1A-FD031484DCA4}" dt="2023-06-13T00:29:45.830" v="64" actId="20577"/>
          <ac:spMkLst>
            <pc:docMk/>
            <pc:sldMk cId="3385592778" sldId="473"/>
            <ac:spMk id="68" creationId="{00000000-0000-0000-0000-000000000000}"/>
          </ac:spMkLst>
        </pc:spChg>
        <pc:spChg chg="mod">
          <ac:chgData name="Zhu Arena, GFTIOV, BCOM" userId="a49f412c-db83-45d3-9142-dc597ff7d65b" providerId="ADAL" clId="{5B98A539-8DC4-4EF2-9B1A-FD031484DCA4}" dt="2023-06-13T00:29:43.876" v="63" actId="20577"/>
          <ac:spMkLst>
            <pc:docMk/>
            <pc:sldMk cId="3385592778" sldId="473"/>
            <ac:spMk id="71" creationId="{00000000-0000-0000-0000-000000000000}"/>
          </ac:spMkLst>
        </pc:spChg>
        <pc:spChg chg="mod">
          <ac:chgData name="Zhu Arena, GFTIOV, BCOM" userId="a49f412c-db83-45d3-9142-dc597ff7d65b" providerId="ADAL" clId="{5B98A539-8DC4-4EF2-9B1A-FD031484DCA4}" dt="2023-06-13T00:30:00.024" v="70" actId="20577"/>
          <ac:spMkLst>
            <pc:docMk/>
            <pc:sldMk cId="3385592778" sldId="473"/>
            <ac:spMk id="74" creationId="{00000000-0000-0000-0000-000000000000}"/>
          </ac:spMkLst>
        </pc:spChg>
        <pc:spChg chg="mod">
          <ac:chgData name="Zhu Arena, GFTIOV, BCOM" userId="a49f412c-db83-45d3-9142-dc597ff7d65b" providerId="ADAL" clId="{5B98A539-8DC4-4EF2-9B1A-FD031484DCA4}" dt="2023-06-13T00:29:39.895" v="61" actId="20577"/>
          <ac:spMkLst>
            <pc:docMk/>
            <pc:sldMk cId="3385592778" sldId="473"/>
            <ac:spMk id="98" creationId="{00000000-0000-0000-0000-000000000000}"/>
          </ac:spMkLst>
        </pc:spChg>
        <pc:spChg chg="mod">
          <ac:chgData name="Zhu Arena, GFTIOV, BCOM" userId="a49f412c-db83-45d3-9142-dc597ff7d65b" providerId="ADAL" clId="{5B98A539-8DC4-4EF2-9B1A-FD031484DCA4}" dt="2023-06-13T00:29:36.839" v="59" actId="20577"/>
          <ac:spMkLst>
            <pc:docMk/>
            <pc:sldMk cId="3385592778" sldId="473"/>
            <ac:spMk id="101" creationId="{00000000-0000-0000-0000-000000000000}"/>
          </ac:spMkLst>
        </pc:spChg>
        <pc:spChg chg="mod">
          <ac:chgData name="Zhu Arena, GFTIOV, BCOM" userId="a49f412c-db83-45d3-9142-dc597ff7d65b" providerId="ADAL" clId="{5B98A539-8DC4-4EF2-9B1A-FD031484DCA4}" dt="2023-06-13T00:29:38.521" v="60" actId="20577"/>
          <ac:spMkLst>
            <pc:docMk/>
            <pc:sldMk cId="3385592778" sldId="473"/>
            <ac:spMk id="104" creationId="{00000000-0000-0000-0000-000000000000}"/>
          </ac:spMkLst>
        </pc:spChg>
        <pc:spChg chg="mod">
          <ac:chgData name="Zhu Arena, GFTIOV, BCOM" userId="a49f412c-db83-45d3-9142-dc597ff7d65b" providerId="ADAL" clId="{5B98A539-8DC4-4EF2-9B1A-FD031484DCA4}" dt="2023-06-13T00:29:41.720" v="62" actId="20577"/>
          <ac:spMkLst>
            <pc:docMk/>
            <pc:sldMk cId="3385592778" sldId="473"/>
            <ac:spMk id="106" creationId="{00000000-0000-0000-0000-000000000000}"/>
          </ac:spMkLst>
        </pc:spChg>
        <pc:spChg chg="mod">
          <ac:chgData name="Zhu Arena, GFTIOV, BCOM" userId="a49f412c-db83-45d3-9142-dc597ff7d65b" providerId="ADAL" clId="{5B98A539-8DC4-4EF2-9B1A-FD031484DCA4}" dt="2023-06-13T00:30:14.678" v="76" actId="6549"/>
          <ac:spMkLst>
            <pc:docMk/>
            <pc:sldMk cId="3385592778" sldId="473"/>
            <ac:spMk id="150" creationId="{00000000-0000-0000-0000-000000000000}"/>
          </ac:spMkLst>
        </pc:spChg>
        <pc:spChg chg="mod">
          <ac:chgData name="Zhu Arena, GFTIOV, BCOM" userId="a49f412c-db83-45d3-9142-dc597ff7d65b" providerId="ADAL" clId="{5B98A539-8DC4-4EF2-9B1A-FD031484DCA4}" dt="2023-06-13T00:30:11.768" v="75" actId="6549"/>
          <ac:spMkLst>
            <pc:docMk/>
            <pc:sldMk cId="3385592778" sldId="473"/>
            <ac:spMk id="153" creationId="{00000000-0000-0000-0000-000000000000}"/>
          </ac:spMkLst>
        </pc:spChg>
        <pc:spChg chg="mod">
          <ac:chgData name="Zhu Arena, GFTIOV, BCOM" userId="a49f412c-db83-45d3-9142-dc597ff7d65b" providerId="ADAL" clId="{5B98A539-8DC4-4EF2-9B1A-FD031484DCA4}" dt="2023-06-13T00:30:17.177" v="77" actId="6549"/>
          <ac:spMkLst>
            <pc:docMk/>
            <pc:sldMk cId="3385592778" sldId="473"/>
            <ac:spMk id="158" creationId="{00000000-0000-0000-0000-000000000000}"/>
          </ac:spMkLst>
        </pc:spChg>
        <pc:spChg chg="mod">
          <ac:chgData name="Zhu Arena, GFTIOV, BCOM" userId="a49f412c-db83-45d3-9142-dc597ff7d65b" providerId="ADAL" clId="{5B98A539-8DC4-4EF2-9B1A-FD031484DCA4}" dt="2023-06-13T00:30:08.232" v="74" actId="6549"/>
          <ac:spMkLst>
            <pc:docMk/>
            <pc:sldMk cId="3385592778" sldId="473"/>
            <ac:spMk id="161" creationId="{00000000-0000-0000-0000-000000000000}"/>
          </ac:spMkLst>
        </pc:spChg>
        <pc:spChg chg="mod">
          <ac:chgData name="Zhu Arena, GFTIOV, BCOM" userId="a49f412c-db83-45d3-9142-dc597ff7d65b" providerId="ADAL" clId="{5B98A539-8DC4-4EF2-9B1A-FD031484DCA4}" dt="2023-06-13T00:30:03.296" v="71" actId="20577"/>
          <ac:spMkLst>
            <pc:docMk/>
            <pc:sldMk cId="3385592778" sldId="473"/>
            <ac:spMk id="164" creationId="{00000000-0000-0000-0000-000000000000}"/>
          </ac:spMkLst>
        </pc:spChg>
        <pc:spChg chg="mod">
          <ac:chgData name="Zhu Arena, GFTIOV, BCOM" userId="a49f412c-db83-45d3-9142-dc597ff7d65b" providerId="ADAL" clId="{5B98A539-8DC4-4EF2-9B1A-FD031484DCA4}" dt="2023-06-13T00:30:25.168" v="80" actId="6549"/>
          <ac:spMkLst>
            <pc:docMk/>
            <pc:sldMk cId="3385592778" sldId="473"/>
            <ac:spMk id="192" creationId="{00000000-0000-0000-0000-000000000000}"/>
          </ac:spMkLst>
        </pc:spChg>
        <pc:spChg chg="mod">
          <ac:chgData name="Zhu Arena, GFTIOV, BCOM" userId="a49f412c-db83-45d3-9142-dc597ff7d65b" providerId="ADAL" clId="{5B98A539-8DC4-4EF2-9B1A-FD031484DCA4}" dt="2023-06-13T00:30:22.800" v="79" actId="6549"/>
          <ac:spMkLst>
            <pc:docMk/>
            <pc:sldMk cId="3385592778" sldId="473"/>
            <ac:spMk id="200" creationId="{00000000-0000-0000-0000-000000000000}"/>
          </ac:spMkLst>
        </pc:spChg>
        <pc:spChg chg="mod">
          <ac:chgData name="Zhu Arena, GFTIOV, BCOM" userId="a49f412c-db83-45d3-9142-dc597ff7d65b" providerId="ADAL" clId="{5B98A539-8DC4-4EF2-9B1A-FD031484DCA4}" dt="2023-06-13T00:30:20.311" v="78" actId="6549"/>
          <ac:spMkLst>
            <pc:docMk/>
            <pc:sldMk cId="3385592778" sldId="473"/>
            <ac:spMk id="203" creationId="{00000000-0000-0000-0000-000000000000}"/>
          </ac:spMkLst>
        </pc:spChg>
        <pc:spChg chg="mod">
          <ac:chgData name="Zhu Arena, GFTIOV, BCOM" userId="a49f412c-db83-45d3-9142-dc597ff7d65b" providerId="ADAL" clId="{5B98A539-8DC4-4EF2-9B1A-FD031484DCA4}" dt="2023-06-13T00:31:39.587" v="93" actId="6549"/>
          <ac:spMkLst>
            <pc:docMk/>
            <pc:sldMk cId="3385592778" sldId="473"/>
            <ac:spMk id="229" creationId="{00000000-0000-0000-0000-000000000000}"/>
          </ac:spMkLst>
        </pc:spChg>
        <pc:spChg chg="mod">
          <ac:chgData name="Zhu Arena, GFTIOV, BCOM" userId="a49f412c-db83-45d3-9142-dc597ff7d65b" providerId="ADAL" clId="{5B98A539-8DC4-4EF2-9B1A-FD031484DCA4}" dt="2023-06-13T00:31:40.366" v="94" actId="6549"/>
          <ac:spMkLst>
            <pc:docMk/>
            <pc:sldMk cId="3385592778" sldId="473"/>
            <ac:spMk id="234" creationId="{00000000-0000-0000-0000-000000000000}"/>
          </ac:spMkLst>
        </pc:spChg>
        <pc:spChg chg="mod">
          <ac:chgData name="Zhu Arena, GFTIOV, BCOM" userId="a49f412c-db83-45d3-9142-dc597ff7d65b" providerId="ADAL" clId="{5B98A539-8DC4-4EF2-9B1A-FD031484DCA4}" dt="2023-06-13T00:31:43.079" v="95" actId="6549"/>
          <ac:spMkLst>
            <pc:docMk/>
            <pc:sldMk cId="3385592778" sldId="473"/>
            <ac:spMk id="237" creationId="{C968DE0A-590D-3CAC-733D-F3ACA0F13BD6}"/>
          </ac:spMkLst>
        </pc:spChg>
        <pc:spChg chg="mod">
          <ac:chgData name="Zhu Arena, GFTIOV, BCOM" userId="a49f412c-db83-45d3-9142-dc597ff7d65b" providerId="ADAL" clId="{5B98A539-8DC4-4EF2-9B1A-FD031484DCA4}" dt="2023-06-13T00:31:39.028" v="92" actId="6549"/>
          <ac:spMkLst>
            <pc:docMk/>
            <pc:sldMk cId="3385592778" sldId="473"/>
            <ac:spMk id="240" creationId="{00000000-0000-0000-0000-000000000000}"/>
          </ac:spMkLst>
        </pc:spChg>
        <pc:spChg chg="mod">
          <ac:chgData name="Zhu Arena, GFTIOV, BCOM" userId="a49f412c-db83-45d3-9142-dc597ff7d65b" providerId="ADAL" clId="{5B98A539-8DC4-4EF2-9B1A-FD031484DCA4}" dt="2023-06-13T00:30:35.062" v="83" actId="6549"/>
          <ac:spMkLst>
            <pc:docMk/>
            <pc:sldMk cId="3385592778" sldId="473"/>
            <ac:spMk id="305" creationId="{00000000-0000-0000-0000-000000000000}"/>
          </ac:spMkLst>
        </pc:spChg>
        <pc:picChg chg="mod">
          <ac:chgData name="Zhu Arena, GFTIOV, BCOM" userId="a49f412c-db83-45d3-9142-dc597ff7d65b" providerId="ADAL" clId="{5B98A539-8DC4-4EF2-9B1A-FD031484DCA4}" dt="2023-06-13T08:36:53.431" v="339" actId="14100"/>
          <ac:picMkLst>
            <pc:docMk/>
            <pc:sldMk cId="3385592778" sldId="473"/>
            <ac:picMk id="236" creationId="{F129A2F9-15F3-72C7-0CB0-6595F9655331}"/>
          </ac:picMkLst>
        </pc:picChg>
      </pc:sldChg>
      <pc:sldChg chg="modSp add mod ord modShow">
        <pc:chgData name="Zhu Arena, GFTIOV, BCOM" userId="a49f412c-db83-45d3-9142-dc597ff7d65b" providerId="ADAL" clId="{5B98A539-8DC4-4EF2-9B1A-FD031484DCA4}" dt="2023-06-13T11:33:21.558" v="372"/>
        <pc:sldMkLst>
          <pc:docMk/>
          <pc:sldMk cId="228686590" sldId="476"/>
        </pc:sldMkLst>
        <pc:spChg chg="mod">
          <ac:chgData name="Zhu Arena, GFTIOV, BCOM" userId="a49f412c-db83-45d3-9142-dc597ff7d65b" providerId="ADAL" clId="{5B98A539-8DC4-4EF2-9B1A-FD031484DCA4}" dt="2023-06-13T04:48:19.168" v="284" actId="20577"/>
          <ac:spMkLst>
            <pc:docMk/>
            <pc:sldMk cId="228686590" sldId="476"/>
            <ac:spMk id="2" creationId="{00000000-0000-0000-0000-000000000000}"/>
          </ac:spMkLst>
        </pc:spChg>
        <pc:spChg chg="mod">
          <ac:chgData name="Zhu Arena, GFTIOV, BCOM" userId="a49f412c-db83-45d3-9142-dc597ff7d65b" providerId="ADAL" clId="{5B98A539-8DC4-4EF2-9B1A-FD031484DCA4}" dt="2023-06-13T04:48:47.497" v="309" actId="1076"/>
          <ac:spMkLst>
            <pc:docMk/>
            <pc:sldMk cId="228686590" sldId="476"/>
            <ac:spMk id="9" creationId="{00000000-0000-0000-0000-000000000000}"/>
          </ac:spMkLst>
        </pc:spChg>
        <pc:spChg chg="mod">
          <ac:chgData name="Zhu Arena, GFTIOV, BCOM" userId="a49f412c-db83-45d3-9142-dc597ff7d65b" providerId="ADAL" clId="{5B98A539-8DC4-4EF2-9B1A-FD031484DCA4}" dt="2023-06-13T04:48:27.545" v="292" actId="20577"/>
          <ac:spMkLst>
            <pc:docMk/>
            <pc:sldMk cId="228686590" sldId="476"/>
            <ac:spMk id="18" creationId="{00000000-0000-0000-0000-000000000000}"/>
          </ac:spMkLst>
        </pc:spChg>
        <pc:spChg chg="mod">
          <ac:chgData name="Zhu Arena, GFTIOV, BCOM" userId="a49f412c-db83-45d3-9142-dc597ff7d65b" providerId="ADAL" clId="{5B98A539-8DC4-4EF2-9B1A-FD031484DCA4}" dt="2023-06-13T04:48:30.027" v="295" actId="20577"/>
          <ac:spMkLst>
            <pc:docMk/>
            <pc:sldMk cId="228686590" sldId="476"/>
            <ac:spMk id="19" creationId="{00000000-0000-0000-0000-000000000000}"/>
          </ac:spMkLst>
        </pc:spChg>
        <pc:spChg chg="mod">
          <ac:chgData name="Zhu Arena, GFTIOV, BCOM" userId="a49f412c-db83-45d3-9142-dc597ff7d65b" providerId="ADAL" clId="{5B98A539-8DC4-4EF2-9B1A-FD031484DCA4}" dt="2023-06-13T04:48:32.555" v="299" actId="20577"/>
          <ac:spMkLst>
            <pc:docMk/>
            <pc:sldMk cId="228686590" sldId="476"/>
            <ac:spMk id="20" creationId="{00000000-0000-0000-0000-000000000000}"/>
          </ac:spMkLst>
        </pc:spChg>
        <pc:spChg chg="mod">
          <ac:chgData name="Zhu Arena, GFTIOV, BCOM" userId="a49f412c-db83-45d3-9142-dc597ff7d65b" providerId="ADAL" clId="{5B98A539-8DC4-4EF2-9B1A-FD031484DCA4}" dt="2023-06-13T04:48:34.831" v="302" actId="20577"/>
          <ac:spMkLst>
            <pc:docMk/>
            <pc:sldMk cId="228686590" sldId="476"/>
            <ac:spMk id="21" creationId="{00000000-0000-0000-0000-000000000000}"/>
          </ac:spMkLst>
        </pc:spChg>
        <pc:spChg chg="mod">
          <ac:chgData name="Zhu Arena, GFTIOV, BCOM" userId="a49f412c-db83-45d3-9142-dc597ff7d65b" providerId="ADAL" clId="{5B98A539-8DC4-4EF2-9B1A-FD031484DCA4}" dt="2023-06-13T04:48:36.287" v="304" actId="20577"/>
          <ac:spMkLst>
            <pc:docMk/>
            <pc:sldMk cId="228686590" sldId="476"/>
            <ac:spMk id="22" creationId="{00000000-0000-0000-0000-000000000000}"/>
          </ac:spMkLst>
        </pc:spChg>
        <pc:spChg chg="mod">
          <ac:chgData name="Zhu Arena, GFTIOV, BCOM" userId="a49f412c-db83-45d3-9142-dc597ff7d65b" providerId="ADAL" clId="{5B98A539-8DC4-4EF2-9B1A-FD031484DCA4}" dt="2023-06-13T04:48:51.057" v="313" actId="20577"/>
          <ac:spMkLst>
            <pc:docMk/>
            <pc:sldMk cId="228686590" sldId="476"/>
            <ac:spMk id="23" creationId="{00000000-0000-0000-0000-000000000000}"/>
          </ac:spMkLst>
        </pc:spChg>
        <pc:spChg chg="mod">
          <ac:chgData name="Zhu Arena, GFTIOV, BCOM" userId="a49f412c-db83-45d3-9142-dc597ff7d65b" providerId="ADAL" clId="{5B98A539-8DC4-4EF2-9B1A-FD031484DCA4}" dt="2023-06-13T04:48:24.410" v="289" actId="20577"/>
          <ac:spMkLst>
            <pc:docMk/>
            <pc:sldMk cId="228686590" sldId="476"/>
            <ac:spMk id="24" creationId="{00000000-0000-0000-0000-000000000000}"/>
          </ac:spMkLst>
        </pc:spChg>
      </pc:sldChg>
      <pc:sldChg chg="modSp mod ord modShow">
        <pc:chgData name="Zhu Arena, GFTIOV, BCOM" userId="a49f412c-db83-45d3-9142-dc597ff7d65b" providerId="ADAL" clId="{5B98A539-8DC4-4EF2-9B1A-FD031484DCA4}" dt="2023-06-13T11:33:21.558" v="372"/>
        <pc:sldMkLst>
          <pc:docMk/>
          <pc:sldMk cId="125164596" sldId="479"/>
        </pc:sldMkLst>
        <pc:spChg chg="mod">
          <ac:chgData name="Zhu Arena, GFTIOV, BCOM" userId="a49f412c-db83-45d3-9142-dc597ff7d65b" providerId="ADAL" clId="{5B98A539-8DC4-4EF2-9B1A-FD031484DCA4}" dt="2023-06-13T00:33:19.189" v="98" actId="255"/>
          <ac:spMkLst>
            <pc:docMk/>
            <pc:sldMk cId="125164596" sldId="479"/>
            <ac:spMk id="21" creationId="{00000000-0000-0000-0000-000000000000}"/>
          </ac:spMkLst>
        </pc:spChg>
        <pc:spChg chg="mod">
          <ac:chgData name="Zhu Arena, GFTIOV, BCOM" userId="a49f412c-db83-45d3-9142-dc597ff7d65b" providerId="ADAL" clId="{5B98A539-8DC4-4EF2-9B1A-FD031484DCA4}" dt="2023-06-13T00:33:23.063" v="99" actId="20577"/>
          <ac:spMkLst>
            <pc:docMk/>
            <pc:sldMk cId="125164596" sldId="479"/>
            <ac:spMk id="27" creationId="{00000000-0000-0000-0000-000000000000}"/>
          </ac:spMkLst>
        </pc:spChg>
        <pc:spChg chg="mod">
          <ac:chgData name="Zhu Arena, GFTIOV, BCOM" userId="a49f412c-db83-45d3-9142-dc597ff7d65b" providerId="ADAL" clId="{5B98A539-8DC4-4EF2-9B1A-FD031484DCA4}" dt="2023-06-13T00:33:36.285" v="101" actId="20577"/>
          <ac:spMkLst>
            <pc:docMk/>
            <pc:sldMk cId="125164596" sldId="479"/>
            <ac:spMk id="32" creationId="{00000000-0000-0000-0000-000000000000}"/>
          </ac:spMkLst>
        </pc:spChg>
        <pc:spChg chg="mod">
          <ac:chgData name="Zhu Arena, GFTIOV, BCOM" userId="a49f412c-db83-45d3-9142-dc597ff7d65b" providerId="ADAL" clId="{5B98A539-8DC4-4EF2-9B1A-FD031484DCA4}" dt="2023-06-13T00:33:30.859" v="100" actId="20577"/>
          <ac:spMkLst>
            <pc:docMk/>
            <pc:sldMk cId="125164596" sldId="479"/>
            <ac:spMk id="33" creationId="{00000000-0000-0000-0000-000000000000}"/>
          </ac:spMkLst>
        </pc:spChg>
        <pc:spChg chg="mod">
          <ac:chgData name="Zhu Arena, GFTIOV, BCOM" userId="a49f412c-db83-45d3-9142-dc597ff7d65b" providerId="ADAL" clId="{5B98A539-8DC4-4EF2-9B1A-FD031484DCA4}" dt="2023-06-13T00:33:40.329" v="102" actId="20577"/>
          <ac:spMkLst>
            <pc:docMk/>
            <pc:sldMk cId="125164596" sldId="479"/>
            <ac:spMk id="34" creationId="{00000000-0000-0000-0000-000000000000}"/>
          </ac:spMkLst>
        </pc:spChg>
        <pc:spChg chg="mod">
          <ac:chgData name="Zhu Arena, GFTIOV, BCOM" userId="a49f412c-db83-45d3-9142-dc597ff7d65b" providerId="ADAL" clId="{5B98A539-8DC4-4EF2-9B1A-FD031484DCA4}" dt="2023-06-13T00:33:43.462" v="103" actId="20577"/>
          <ac:spMkLst>
            <pc:docMk/>
            <pc:sldMk cId="125164596" sldId="479"/>
            <ac:spMk id="35" creationId="{00000000-0000-0000-0000-000000000000}"/>
          </ac:spMkLst>
        </pc:spChg>
        <pc:spChg chg="mod">
          <ac:chgData name="Zhu Arena, GFTIOV, BCOM" userId="a49f412c-db83-45d3-9142-dc597ff7d65b" providerId="ADAL" clId="{5B98A539-8DC4-4EF2-9B1A-FD031484DCA4}" dt="2023-06-13T00:34:01.386" v="105" actId="20577"/>
          <ac:spMkLst>
            <pc:docMk/>
            <pc:sldMk cId="125164596" sldId="479"/>
            <ac:spMk id="41" creationId="{00000000-0000-0000-0000-000000000000}"/>
          </ac:spMkLst>
        </pc:spChg>
        <pc:spChg chg="mod">
          <ac:chgData name="Zhu Arena, GFTIOV, BCOM" userId="a49f412c-db83-45d3-9142-dc597ff7d65b" providerId="ADAL" clId="{5B98A539-8DC4-4EF2-9B1A-FD031484DCA4}" dt="2023-06-13T00:34:04.989" v="106" actId="20577"/>
          <ac:spMkLst>
            <pc:docMk/>
            <pc:sldMk cId="125164596" sldId="479"/>
            <ac:spMk id="43" creationId="{00000000-0000-0000-0000-000000000000}"/>
          </ac:spMkLst>
        </pc:spChg>
        <pc:spChg chg="mod">
          <ac:chgData name="Zhu Arena, GFTIOV, BCOM" userId="a49f412c-db83-45d3-9142-dc597ff7d65b" providerId="ADAL" clId="{5B98A539-8DC4-4EF2-9B1A-FD031484DCA4}" dt="2023-06-13T00:34:11.255" v="110" actId="20577"/>
          <ac:spMkLst>
            <pc:docMk/>
            <pc:sldMk cId="125164596" sldId="479"/>
            <ac:spMk id="44" creationId="{00000000-0000-0000-0000-000000000000}"/>
          </ac:spMkLst>
        </pc:spChg>
        <pc:spChg chg="mod">
          <ac:chgData name="Zhu Arena, GFTIOV, BCOM" userId="a49f412c-db83-45d3-9142-dc597ff7d65b" providerId="ADAL" clId="{5B98A539-8DC4-4EF2-9B1A-FD031484DCA4}" dt="2023-06-13T00:34:07.603" v="107" actId="20577"/>
          <ac:spMkLst>
            <pc:docMk/>
            <pc:sldMk cId="125164596" sldId="479"/>
            <ac:spMk id="48" creationId="{00000000-0000-0000-0000-000000000000}"/>
          </ac:spMkLst>
        </pc:spChg>
        <pc:spChg chg="mod">
          <ac:chgData name="Zhu Arena, GFTIOV, BCOM" userId="a49f412c-db83-45d3-9142-dc597ff7d65b" providerId="ADAL" clId="{5B98A539-8DC4-4EF2-9B1A-FD031484DCA4}" dt="2023-06-13T00:34:13.898" v="111" actId="20577"/>
          <ac:spMkLst>
            <pc:docMk/>
            <pc:sldMk cId="125164596" sldId="479"/>
            <ac:spMk id="50" creationId="{00000000-0000-0000-0000-000000000000}"/>
          </ac:spMkLst>
        </pc:spChg>
        <pc:spChg chg="mod">
          <ac:chgData name="Zhu Arena, GFTIOV, BCOM" userId="a49f412c-db83-45d3-9142-dc597ff7d65b" providerId="ADAL" clId="{5B98A539-8DC4-4EF2-9B1A-FD031484DCA4}" dt="2023-06-13T00:34:15.921" v="112" actId="20577"/>
          <ac:spMkLst>
            <pc:docMk/>
            <pc:sldMk cId="125164596" sldId="479"/>
            <ac:spMk id="52" creationId="{00000000-0000-0000-0000-000000000000}"/>
          </ac:spMkLst>
        </pc:spChg>
      </pc:sldChg>
      <pc:sldChg chg="modSp add mod ord">
        <pc:chgData name="Zhu Arena, GFTIOV, BCOM" userId="a49f412c-db83-45d3-9142-dc597ff7d65b" providerId="ADAL" clId="{5B98A539-8DC4-4EF2-9B1A-FD031484DCA4}" dt="2023-06-13T11:42:53.052" v="672" actId="20577"/>
        <pc:sldMkLst>
          <pc:docMk/>
          <pc:sldMk cId="868910039" sldId="484"/>
        </pc:sldMkLst>
        <pc:spChg chg="mod">
          <ac:chgData name="Zhu Arena, GFTIOV, BCOM" userId="a49f412c-db83-45d3-9142-dc597ff7d65b" providerId="ADAL" clId="{5B98A539-8DC4-4EF2-9B1A-FD031484DCA4}" dt="2023-06-13T11:42:53.052" v="672" actId="20577"/>
          <ac:spMkLst>
            <pc:docMk/>
            <pc:sldMk cId="868910039" sldId="484"/>
            <ac:spMk id="2" creationId="{00000000-0000-0000-0000-000000000000}"/>
          </ac:spMkLst>
        </pc:spChg>
      </pc:sldChg>
      <pc:sldChg chg="add">
        <pc:chgData name="Zhu Arena, GFTIOV, BCOM" userId="a49f412c-db83-45d3-9142-dc597ff7d65b" providerId="ADAL" clId="{5B98A539-8DC4-4EF2-9B1A-FD031484DCA4}" dt="2023-06-13T11:49:50.402" v="709"/>
        <pc:sldMkLst>
          <pc:docMk/>
          <pc:sldMk cId="917422119" sldId="492"/>
        </pc:sldMkLst>
      </pc:sldChg>
      <pc:sldChg chg="modSp mod">
        <pc:chgData name="Zhu Arena, GFTIOV, BCOM" userId="a49f412c-db83-45d3-9142-dc597ff7d65b" providerId="ADAL" clId="{5B98A539-8DC4-4EF2-9B1A-FD031484DCA4}" dt="2023-06-13T00:24:59.975" v="2" actId="403"/>
        <pc:sldMkLst>
          <pc:docMk/>
          <pc:sldMk cId="1406992056" sldId="779"/>
        </pc:sldMkLst>
        <pc:spChg chg="mod">
          <ac:chgData name="Zhu Arena, GFTIOV, BCOM" userId="a49f412c-db83-45d3-9142-dc597ff7d65b" providerId="ADAL" clId="{5B98A539-8DC4-4EF2-9B1A-FD031484DCA4}" dt="2023-06-13T00:24:59.975" v="2" actId="403"/>
          <ac:spMkLst>
            <pc:docMk/>
            <pc:sldMk cId="1406992056" sldId="779"/>
            <ac:spMk id="3" creationId="{00000000-0000-0000-0000-000000000000}"/>
          </ac:spMkLst>
        </pc:spChg>
      </pc:sldChg>
      <pc:sldChg chg="modSp mod">
        <pc:chgData name="Zhu Arena, GFTIOV, BCOM" userId="a49f412c-db83-45d3-9142-dc597ff7d65b" providerId="ADAL" clId="{5B98A539-8DC4-4EF2-9B1A-FD031484DCA4}" dt="2023-06-13T04:53:43.175" v="336" actId="6549"/>
        <pc:sldMkLst>
          <pc:docMk/>
          <pc:sldMk cId="3225000591" sldId="922"/>
        </pc:sldMkLst>
        <pc:spChg chg="mod">
          <ac:chgData name="Zhu Arena, GFTIOV, BCOM" userId="a49f412c-db83-45d3-9142-dc597ff7d65b" providerId="ADAL" clId="{5B98A539-8DC4-4EF2-9B1A-FD031484DCA4}" dt="2023-06-13T00:26:04.885" v="21" actId="255"/>
          <ac:spMkLst>
            <pc:docMk/>
            <pc:sldMk cId="3225000591" sldId="922"/>
            <ac:spMk id="2" creationId="{00000000-0000-0000-0000-000000000000}"/>
          </ac:spMkLst>
        </pc:spChg>
        <pc:spChg chg="mod">
          <ac:chgData name="Zhu Arena, GFTIOV, BCOM" userId="a49f412c-db83-45d3-9142-dc597ff7d65b" providerId="ADAL" clId="{5B98A539-8DC4-4EF2-9B1A-FD031484DCA4}" dt="2023-06-13T00:26:31.087" v="29" actId="20577"/>
          <ac:spMkLst>
            <pc:docMk/>
            <pc:sldMk cId="3225000591" sldId="922"/>
            <ac:spMk id="6" creationId="{00000000-0000-0000-0000-000000000000}"/>
          </ac:spMkLst>
        </pc:spChg>
        <pc:spChg chg="mod">
          <ac:chgData name="Zhu Arena, GFTIOV, BCOM" userId="a49f412c-db83-45d3-9142-dc597ff7d65b" providerId="ADAL" clId="{5B98A539-8DC4-4EF2-9B1A-FD031484DCA4}" dt="2023-06-13T00:26:28.949" v="28" actId="20577"/>
          <ac:spMkLst>
            <pc:docMk/>
            <pc:sldMk cId="3225000591" sldId="922"/>
            <ac:spMk id="33" creationId="{00000000-0000-0000-0000-000000000000}"/>
          </ac:spMkLst>
        </pc:spChg>
        <pc:spChg chg="mod">
          <ac:chgData name="Zhu Arena, GFTIOV, BCOM" userId="a49f412c-db83-45d3-9142-dc597ff7d65b" providerId="ADAL" clId="{5B98A539-8DC4-4EF2-9B1A-FD031484DCA4}" dt="2023-06-13T00:26:25.181" v="26" actId="20577"/>
          <ac:spMkLst>
            <pc:docMk/>
            <pc:sldMk cId="3225000591" sldId="922"/>
            <ac:spMk id="34" creationId="{00000000-0000-0000-0000-000000000000}"/>
          </ac:spMkLst>
        </pc:spChg>
        <pc:spChg chg="mod">
          <ac:chgData name="Zhu Arena, GFTIOV, BCOM" userId="a49f412c-db83-45d3-9142-dc597ff7d65b" providerId="ADAL" clId="{5B98A539-8DC4-4EF2-9B1A-FD031484DCA4}" dt="2023-06-13T00:26:18.375" v="24" actId="20577"/>
          <ac:spMkLst>
            <pc:docMk/>
            <pc:sldMk cId="3225000591" sldId="922"/>
            <ac:spMk id="37" creationId="{00000000-0000-0000-0000-000000000000}"/>
          </ac:spMkLst>
        </pc:spChg>
        <pc:spChg chg="mod">
          <ac:chgData name="Zhu Arena, GFTIOV, BCOM" userId="a49f412c-db83-45d3-9142-dc597ff7d65b" providerId="ADAL" clId="{5B98A539-8DC4-4EF2-9B1A-FD031484DCA4}" dt="2023-06-13T00:26:16.101" v="23" actId="20577"/>
          <ac:spMkLst>
            <pc:docMk/>
            <pc:sldMk cId="3225000591" sldId="922"/>
            <ac:spMk id="38" creationId="{00000000-0000-0000-0000-000000000000}"/>
          </ac:spMkLst>
        </pc:spChg>
        <pc:spChg chg="mod">
          <ac:chgData name="Zhu Arena, GFTIOV, BCOM" userId="a49f412c-db83-45d3-9142-dc597ff7d65b" providerId="ADAL" clId="{5B98A539-8DC4-4EF2-9B1A-FD031484DCA4}" dt="2023-06-13T00:26:12.180" v="22" actId="20577"/>
          <ac:spMkLst>
            <pc:docMk/>
            <pc:sldMk cId="3225000591" sldId="922"/>
            <ac:spMk id="39" creationId="{00000000-0000-0000-0000-000000000000}"/>
          </ac:spMkLst>
        </pc:spChg>
        <pc:spChg chg="mod">
          <ac:chgData name="Zhu Arena, GFTIOV, BCOM" userId="a49f412c-db83-45d3-9142-dc597ff7d65b" providerId="ADAL" clId="{5B98A539-8DC4-4EF2-9B1A-FD031484DCA4}" dt="2023-06-13T00:26:21.665" v="25" actId="20577"/>
          <ac:spMkLst>
            <pc:docMk/>
            <pc:sldMk cId="3225000591" sldId="922"/>
            <ac:spMk id="42" creationId="{81D3BD64-2608-4773-847F-D1A6E38C4995}"/>
          </ac:spMkLst>
        </pc:spChg>
        <pc:spChg chg="mod">
          <ac:chgData name="Zhu Arena, GFTIOV, BCOM" userId="a49f412c-db83-45d3-9142-dc597ff7d65b" providerId="ADAL" clId="{5B98A539-8DC4-4EF2-9B1A-FD031484DCA4}" dt="2023-06-13T00:26:33.535" v="30" actId="20577"/>
          <ac:spMkLst>
            <pc:docMk/>
            <pc:sldMk cId="3225000591" sldId="922"/>
            <ac:spMk id="44" creationId="{2DC79517-9321-45A8-B35C-6DEFE3DF5DFF}"/>
          </ac:spMkLst>
        </pc:spChg>
        <pc:spChg chg="mod">
          <ac:chgData name="Zhu Arena, GFTIOV, BCOM" userId="a49f412c-db83-45d3-9142-dc597ff7d65b" providerId="ADAL" clId="{5B98A539-8DC4-4EF2-9B1A-FD031484DCA4}" dt="2023-06-13T00:27:07.585" v="39" actId="403"/>
          <ac:spMkLst>
            <pc:docMk/>
            <pc:sldMk cId="3225000591" sldId="922"/>
            <ac:spMk id="47" creationId="{00000000-0000-0000-0000-000000000000}"/>
          </ac:spMkLst>
        </pc:spChg>
        <pc:spChg chg="mod">
          <ac:chgData name="Zhu Arena, GFTIOV, BCOM" userId="a49f412c-db83-45d3-9142-dc597ff7d65b" providerId="ADAL" clId="{5B98A539-8DC4-4EF2-9B1A-FD031484DCA4}" dt="2023-06-13T00:27:11.882" v="40" actId="403"/>
          <ac:spMkLst>
            <pc:docMk/>
            <pc:sldMk cId="3225000591" sldId="922"/>
            <ac:spMk id="57" creationId="{00000000-0000-0000-0000-000000000000}"/>
          </ac:spMkLst>
        </pc:spChg>
        <pc:spChg chg="mod">
          <ac:chgData name="Zhu Arena, GFTIOV, BCOM" userId="a49f412c-db83-45d3-9142-dc597ff7d65b" providerId="ADAL" clId="{5B98A539-8DC4-4EF2-9B1A-FD031484DCA4}" dt="2023-06-13T00:27:22.637" v="43" actId="403"/>
          <ac:spMkLst>
            <pc:docMk/>
            <pc:sldMk cId="3225000591" sldId="922"/>
            <ac:spMk id="61" creationId="{00000000-0000-0000-0000-000000000000}"/>
          </ac:spMkLst>
        </pc:spChg>
        <pc:spChg chg="mod">
          <ac:chgData name="Zhu Arena, GFTIOV, BCOM" userId="a49f412c-db83-45d3-9142-dc597ff7d65b" providerId="ADAL" clId="{5B98A539-8DC4-4EF2-9B1A-FD031484DCA4}" dt="2023-06-13T00:27:26.093" v="44" actId="403"/>
          <ac:spMkLst>
            <pc:docMk/>
            <pc:sldMk cId="3225000591" sldId="922"/>
            <ac:spMk id="65" creationId="{00000000-0000-0000-0000-000000000000}"/>
          </ac:spMkLst>
        </pc:spChg>
        <pc:spChg chg="mod">
          <ac:chgData name="Zhu Arena, GFTIOV, BCOM" userId="a49f412c-db83-45d3-9142-dc597ff7d65b" providerId="ADAL" clId="{5B98A539-8DC4-4EF2-9B1A-FD031484DCA4}" dt="2023-06-13T00:27:14.801" v="41" actId="403"/>
          <ac:spMkLst>
            <pc:docMk/>
            <pc:sldMk cId="3225000591" sldId="922"/>
            <ac:spMk id="68" creationId="{00000000-0000-0000-0000-000000000000}"/>
          </ac:spMkLst>
        </pc:spChg>
        <pc:spChg chg="mod">
          <ac:chgData name="Zhu Arena, GFTIOV, BCOM" userId="a49f412c-db83-45d3-9142-dc597ff7d65b" providerId="ADAL" clId="{5B98A539-8DC4-4EF2-9B1A-FD031484DCA4}" dt="2023-06-13T00:27:37.417" v="45" actId="403"/>
          <ac:spMkLst>
            <pc:docMk/>
            <pc:sldMk cId="3225000591" sldId="922"/>
            <ac:spMk id="73" creationId="{00000000-0000-0000-0000-000000000000}"/>
          </ac:spMkLst>
        </pc:spChg>
        <pc:spChg chg="mod">
          <ac:chgData name="Zhu Arena, GFTIOV, BCOM" userId="a49f412c-db83-45d3-9142-dc597ff7d65b" providerId="ADAL" clId="{5B98A539-8DC4-4EF2-9B1A-FD031484DCA4}" dt="2023-06-13T00:27:18.992" v="42" actId="403"/>
          <ac:spMkLst>
            <pc:docMk/>
            <pc:sldMk cId="3225000591" sldId="922"/>
            <ac:spMk id="76" creationId="{00000000-0000-0000-0000-000000000000}"/>
          </ac:spMkLst>
        </pc:spChg>
        <pc:spChg chg="mod">
          <ac:chgData name="Zhu Arena, GFTIOV, BCOM" userId="a49f412c-db83-45d3-9142-dc597ff7d65b" providerId="ADAL" clId="{5B98A539-8DC4-4EF2-9B1A-FD031484DCA4}" dt="2023-06-13T04:53:43.175" v="336" actId="6549"/>
          <ac:spMkLst>
            <pc:docMk/>
            <pc:sldMk cId="3225000591" sldId="922"/>
            <ac:spMk id="79" creationId="{00000000-0000-0000-0000-000000000000}"/>
          </ac:spMkLst>
        </pc:spChg>
      </pc:sldChg>
      <pc:sldChg chg="delSp modSp mod ord modShow">
        <pc:chgData name="Zhu Arena, GFTIOV, BCOM" userId="a49f412c-db83-45d3-9142-dc597ff7d65b" providerId="ADAL" clId="{5B98A539-8DC4-4EF2-9B1A-FD031484DCA4}" dt="2023-06-13T12:01:22.848" v="712"/>
        <pc:sldMkLst>
          <pc:docMk/>
          <pc:sldMk cId="3297476074" sldId="2146847816"/>
        </pc:sldMkLst>
        <pc:spChg chg="del">
          <ac:chgData name="Zhu Arena, GFTIOV, BCOM" userId="a49f412c-db83-45d3-9142-dc597ff7d65b" providerId="ADAL" clId="{5B98A539-8DC4-4EF2-9B1A-FD031484DCA4}" dt="2023-06-13T04:48:58.740" v="314" actId="478"/>
          <ac:spMkLst>
            <pc:docMk/>
            <pc:sldMk cId="3297476074" sldId="2146847816"/>
            <ac:spMk id="4" creationId="{4FE032F8-3498-46CF-0EE8-16FC7A1DFCC5}"/>
          </ac:spMkLst>
        </pc:spChg>
        <pc:spChg chg="mod">
          <ac:chgData name="Zhu Arena, GFTIOV, BCOM" userId="a49f412c-db83-45d3-9142-dc597ff7d65b" providerId="ADAL" clId="{5B98A539-8DC4-4EF2-9B1A-FD031484DCA4}" dt="2023-06-13T00:34:41.610" v="115" actId="403"/>
          <ac:spMkLst>
            <pc:docMk/>
            <pc:sldMk cId="3297476074" sldId="2146847816"/>
            <ac:spMk id="5" creationId="{7C9A221C-BA19-F597-D461-77AD0BFE79DB}"/>
          </ac:spMkLst>
        </pc:spChg>
        <pc:spChg chg="mod">
          <ac:chgData name="Zhu Arena, GFTIOV, BCOM" userId="a49f412c-db83-45d3-9142-dc597ff7d65b" providerId="ADAL" clId="{5B98A539-8DC4-4EF2-9B1A-FD031484DCA4}" dt="2023-06-13T00:36:02.347" v="130" actId="113"/>
          <ac:spMkLst>
            <pc:docMk/>
            <pc:sldMk cId="3297476074" sldId="2146847816"/>
            <ac:spMk id="91" creationId="{357D0865-7ACB-4AAE-7BEF-318285837E6B}"/>
          </ac:spMkLst>
        </pc:spChg>
        <pc:spChg chg="mod">
          <ac:chgData name="Zhu Arena, GFTIOV, BCOM" userId="a49f412c-db83-45d3-9142-dc597ff7d65b" providerId="ADAL" clId="{5B98A539-8DC4-4EF2-9B1A-FD031484DCA4}" dt="2023-06-13T04:50:16.419" v="317"/>
          <ac:spMkLst>
            <pc:docMk/>
            <pc:sldMk cId="3297476074" sldId="2146847816"/>
            <ac:spMk id="94" creationId="{2588F25B-36D4-1C12-C2F8-EE80B9F19F9D}"/>
          </ac:spMkLst>
        </pc:spChg>
        <pc:spChg chg="mod">
          <ac:chgData name="Zhu Arena, GFTIOV, BCOM" userId="a49f412c-db83-45d3-9142-dc597ff7d65b" providerId="ADAL" clId="{5B98A539-8DC4-4EF2-9B1A-FD031484DCA4}" dt="2023-06-13T00:44:08.779" v="273" actId="1076"/>
          <ac:spMkLst>
            <pc:docMk/>
            <pc:sldMk cId="3297476074" sldId="2146847816"/>
            <ac:spMk id="95" creationId="{45180C6E-9291-DA0A-A02E-4968AF8809DB}"/>
          </ac:spMkLst>
        </pc:spChg>
        <pc:spChg chg="mod">
          <ac:chgData name="Zhu Arena, GFTIOV, BCOM" userId="a49f412c-db83-45d3-9142-dc597ff7d65b" providerId="ADAL" clId="{5B98A539-8DC4-4EF2-9B1A-FD031484DCA4}" dt="2023-06-13T00:44:05.878" v="272" actId="1076"/>
          <ac:spMkLst>
            <pc:docMk/>
            <pc:sldMk cId="3297476074" sldId="2146847816"/>
            <ac:spMk id="96" creationId="{6946494A-72B7-EA83-7054-C52A0FF85B8D}"/>
          </ac:spMkLst>
        </pc:spChg>
        <pc:spChg chg="mod">
          <ac:chgData name="Zhu Arena, GFTIOV, BCOM" userId="a49f412c-db83-45d3-9142-dc597ff7d65b" providerId="ADAL" clId="{5B98A539-8DC4-4EF2-9B1A-FD031484DCA4}" dt="2023-06-13T00:44:24.776" v="278" actId="1037"/>
          <ac:spMkLst>
            <pc:docMk/>
            <pc:sldMk cId="3297476074" sldId="2146847816"/>
            <ac:spMk id="99" creationId="{AC8C3E47-7964-03FB-09E3-B93CFB3C6053}"/>
          </ac:spMkLst>
        </pc:spChg>
        <pc:spChg chg="mod">
          <ac:chgData name="Zhu Arena, GFTIOV, BCOM" userId="a49f412c-db83-45d3-9142-dc597ff7d65b" providerId="ADAL" clId="{5B98A539-8DC4-4EF2-9B1A-FD031484DCA4}" dt="2023-06-13T00:44:17.634" v="276" actId="1076"/>
          <ac:spMkLst>
            <pc:docMk/>
            <pc:sldMk cId="3297476074" sldId="2146847816"/>
            <ac:spMk id="100" creationId="{BBA4F6C4-6095-B3B5-6C7F-230438B8507E}"/>
          </ac:spMkLst>
        </pc:spChg>
        <pc:spChg chg="mod">
          <ac:chgData name="Zhu Arena, GFTIOV, BCOM" userId="a49f412c-db83-45d3-9142-dc597ff7d65b" providerId="ADAL" clId="{5B98A539-8DC4-4EF2-9B1A-FD031484DCA4}" dt="2023-06-13T00:44:12.790" v="275" actId="1076"/>
          <ac:spMkLst>
            <pc:docMk/>
            <pc:sldMk cId="3297476074" sldId="2146847816"/>
            <ac:spMk id="103" creationId="{ABD08185-2830-2355-B28C-FACFBD49C361}"/>
          </ac:spMkLst>
        </pc:spChg>
        <pc:graphicFrameChg chg="mod">
          <ac:chgData name="Zhu Arena, GFTIOV, BCOM" userId="a49f412c-db83-45d3-9142-dc597ff7d65b" providerId="ADAL" clId="{5B98A539-8DC4-4EF2-9B1A-FD031484DCA4}" dt="2023-06-13T00:35:19.448" v="122" actId="20577"/>
          <ac:graphicFrameMkLst>
            <pc:docMk/>
            <pc:sldMk cId="3297476074" sldId="2146847816"/>
            <ac:graphicFrameMk id="88" creationId="{A1C93F52-FADB-7F52-860B-DA0BFF3F7746}"/>
          </ac:graphicFrameMkLst>
        </pc:graphicFrameChg>
      </pc:sldChg>
      <pc:sldChg chg="addSp delSp modSp mod">
        <pc:chgData name="Zhu Arena, GFTIOV, BCOM" userId="a49f412c-db83-45d3-9142-dc597ff7d65b" providerId="ADAL" clId="{5B98A539-8DC4-4EF2-9B1A-FD031484DCA4}" dt="2023-06-13T11:38:18.168" v="652" actId="20577"/>
        <pc:sldMkLst>
          <pc:docMk/>
          <pc:sldMk cId="954989905" sldId="2146847848"/>
        </pc:sldMkLst>
        <pc:spChg chg="mod">
          <ac:chgData name="Zhu Arena, GFTIOV, BCOM" userId="a49f412c-db83-45d3-9142-dc597ff7d65b" providerId="ADAL" clId="{5B98A539-8DC4-4EF2-9B1A-FD031484DCA4}" dt="2023-06-13T00:40:53.106" v="247" actId="1035"/>
          <ac:spMkLst>
            <pc:docMk/>
            <pc:sldMk cId="954989905" sldId="2146847848"/>
            <ac:spMk id="5" creationId="{0A3FCE88-F675-4C3E-8963-F72A6E5BBD50}"/>
          </ac:spMkLst>
        </pc:spChg>
        <pc:spChg chg="mod">
          <ac:chgData name="Zhu Arena, GFTIOV, BCOM" userId="a49f412c-db83-45d3-9142-dc597ff7d65b" providerId="ADAL" clId="{5B98A539-8DC4-4EF2-9B1A-FD031484DCA4}" dt="2023-06-13T00:41:41.844" v="255" actId="1076"/>
          <ac:spMkLst>
            <pc:docMk/>
            <pc:sldMk cId="954989905" sldId="2146847848"/>
            <ac:spMk id="8" creationId="{F497C887-6187-770C-046C-8584B3D928D5}"/>
          </ac:spMkLst>
        </pc:spChg>
        <pc:spChg chg="mod">
          <ac:chgData name="Zhu Arena, GFTIOV, BCOM" userId="a49f412c-db83-45d3-9142-dc597ff7d65b" providerId="ADAL" clId="{5B98A539-8DC4-4EF2-9B1A-FD031484DCA4}" dt="2023-06-13T04:52:49.765" v="327" actId="1076"/>
          <ac:spMkLst>
            <pc:docMk/>
            <pc:sldMk cId="954989905" sldId="2146847848"/>
            <ac:spMk id="9" creationId="{BA8983DC-DC37-32BB-9BF7-4FF36B6702D3}"/>
          </ac:spMkLst>
        </pc:spChg>
        <pc:spChg chg="mod">
          <ac:chgData name="Zhu Arena, GFTIOV, BCOM" userId="a49f412c-db83-45d3-9142-dc597ff7d65b" providerId="ADAL" clId="{5B98A539-8DC4-4EF2-9B1A-FD031484DCA4}" dt="2023-06-13T00:42:16.830" v="260" actId="1035"/>
          <ac:spMkLst>
            <pc:docMk/>
            <pc:sldMk cId="954989905" sldId="2146847848"/>
            <ac:spMk id="19" creationId="{2B9AFE5B-D666-4A5A-8FFF-46DD952C240A}"/>
          </ac:spMkLst>
        </pc:spChg>
        <pc:spChg chg="mod">
          <ac:chgData name="Zhu Arena, GFTIOV, BCOM" userId="a49f412c-db83-45d3-9142-dc597ff7d65b" providerId="ADAL" clId="{5B98A539-8DC4-4EF2-9B1A-FD031484DCA4}" dt="2023-06-13T00:42:16.830" v="260" actId="1035"/>
          <ac:spMkLst>
            <pc:docMk/>
            <pc:sldMk cId="954989905" sldId="2146847848"/>
            <ac:spMk id="22" creationId="{4C5961ED-3400-4FC9-A91A-F7A58735A5FE}"/>
          </ac:spMkLst>
        </pc:spChg>
        <pc:spChg chg="mod">
          <ac:chgData name="Zhu Arena, GFTIOV, BCOM" userId="a49f412c-db83-45d3-9142-dc597ff7d65b" providerId="ADAL" clId="{5B98A539-8DC4-4EF2-9B1A-FD031484DCA4}" dt="2023-06-13T00:42:16.830" v="260" actId="1035"/>
          <ac:spMkLst>
            <pc:docMk/>
            <pc:sldMk cId="954989905" sldId="2146847848"/>
            <ac:spMk id="25" creationId="{E0DABB92-3C6C-4FE3-ABCF-CD648602DB92}"/>
          </ac:spMkLst>
        </pc:spChg>
        <pc:spChg chg="mod">
          <ac:chgData name="Zhu Arena, GFTIOV, BCOM" userId="a49f412c-db83-45d3-9142-dc597ff7d65b" providerId="ADAL" clId="{5B98A539-8DC4-4EF2-9B1A-FD031484DCA4}" dt="2023-06-13T11:34:46.181" v="426" actId="1038"/>
          <ac:spMkLst>
            <pc:docMk/>
            <pc:sldMk cId="954989905" sldId="2146847848"/>
            <ac:spMk id="28" creationId="{79613ACD-08BC-42E2-9F9E-A1F52A26F477}"/>
          </ac:spMkLst>
        </pc:spChg>
        <pc:spChg chg="mod">
          <ac:chgData name="Zhu Arena, GFTIOV, BCOM" userId="a49f412c-db83-45d3-9142-dc597ff7d65b" providerId="ADAL" clId="{5B98A539-8DC4-4EF2-9B1A-FD031484DCA4}" dt="2023-06-13T00:42:22.355" v="263" actId="1035"/>
          <ac:spMkLst>
            <pc:docMk/>
            <pc:sldMk cId="954989905" sldId="2146847848"/>
            <ac:spMk id="31" creationId="{4CAD70CE-149C-42FF-9BA9-2D4641C24BFA}"/>
          </ac:spMkLst>
        </pc:spChg>
        <pc:spChg chg="mod">
          <ac:chgData name="Zhu Arena, GFTIOV, BCOM" userId="a49f412c-db83-45d3-9142-dc597ff7d65b" providerId="ADAL" clId="{5B98A539-8DC4-4EF2-9B1A-FD031484DCA4}" dt="2023-06-13T00:42:16.830" v="260" actId="1035"/>
          <ac:spMkLst>
            <pc:docMk/>
            <pc:sldMk cId="954989905" sldId="2146847848"/>
            <ac:spMk id="34" creationId="{A91BBDCA-3588-45DD-8E76-2469B713B30F}"/>
          </ac:spMkLst>
        </pc:spChg>
        <pc:spChg chg="del">
          <ac:chgData name="Zhu Arena, GFTIOV, BCOM" userId="a49f412c-db83-45d3-9142-dc597ff7d65b" providerId="ADAL" clId="{5B98A539-8DC4-4EF2-9B1A-FD031484DCA4}" dt="2023-06-13T00:39:40.701" v="218" actId="478"/>
          <ac:spMkLst>
            <pc:docMk/>
            <pc:sldMk cId="954989905" sldId="2146847848"/>
            <ac:spMk id="37" creationId="{9F909228-3806-4E82-8209-AC4AC5C5A55D}"/>
          </ac:spMkLst>
        </pc:spChg>
        <pc:spChg chg="del">
          <ac:chgData name="Zhu Arena, GFTIOV, BCOM" userId="a49f412c-db83-45d3-9142-dc597ff7d65b" providerId="ADAL" clId="{5B98A539-8DC4-4EF2-9B1A-FD031484DCA4}" dt="2023-06-13T00:39:40.701" v="218" actId="478"/>
          <ac:spMkLst>
            <pc:docMk/>
            <pc:sldMk cId="954989905" sldId="2146847848"/>
            <ac:spMk id="39" creationId="{80830D69-B648-4637-868B-61D6AD6414C5}"/>
          </ac:spMkLst>
        </pc:spChg>
        <pc:spChg chg="del">
          <ac:chgData name="Zhu Arena, GFTIOV, BCOM" userId="a49f412c-db83-45d3-9142-dc597ff7d65b" providerId="ADAL" clId="{5B98A539-8DC4-4EF2-9B1A-FD031484DCA4}" dt="2023-06-13T00:39:40.701" v="218" actId="478"/>
          <ac:spMkLst>
            <pc:docMk/>
            <pc:sldMk cId="954989905" sldId="2146847848"/>
            <ac:spMk id="41" creationId="{3ED6DCF1-CA58-4EBC-98AA-0161F8C383A2}"/>
          </ac:spMkLst>
        </pc:spChg>
        <pc:spChg chg="del">
          <ac:chgData name="Zhu Arena, GFTIOV, BCOM" userId="a49f412c-db83-45d3-9142-dc597ff7d65b" providerId="ADAL" clId="{5B98A539-8DC4-4EF2-9B1A-FD031484DCA4}" dt="2023-06-13T00:39:40.701" v="218" actId="478"/>
          <ac:spMkLst>
            <pc:docMk/>
            <pc:sldMk cId="954989905" sldId="2146847848"/>
            <ac:spMk id="43" creationId="{218BD659-AE5D-4FD3-B27F-3B45BC284FCD}"/>
          </ac:spMkLst>
        </pc:spChg>
        <pc:spChg chg="mod">
          <ac:chgData name="Zhu Arena, GFTIOV, BCOM" userId="a49f412c-db83-45d3-9142-dc597ff7d65b" providerId="ADAL" clId="{5B98A539-8DC4-4EF2-9B1A-FD031484DCA4}" dt="2023-06-13T00:38:12.858" v="173" actId="403"/>
          <ac:spMkLst>
            <pc:docMk/>
            <pc:sldMk cId="954989905" sldId="2146847848"/>
            <ac:spMk id="44" creationId="{C5E89091-60CF-DBD5-BAC2-BDAF510287BD}"/>
          </ac:spMkLst>
        </pc:spChg>
        <pc:spChg chg="del mod">
          <ac:chgData name="Zhu Arena, GFTIOV, BCOM" userId="a49f412c-db83-45d3-9142-dc597ff7d65b" providerId="ADAL" clId="{5B98A539-8DC4-4EF2-9B1A-FD031484DCA4}" dt="2023-06-13T00:39:34.220" v="217" actId="478"/>
          <ac:spMkLst>
            <pc:docMk/>
            <pc:sldMk cId="954989905" sldId="2146847848"/>
            <ac:spMk id="45" creationId="{815F78EA-B3BF-4363-88EA-F40AC3AA8AAC}"/>
          </ac:spMkLst>
        </pc:spChg>
        <pc:spChg chg="del mod">
          <ac:chgData name="Zhu Arena, GFTIOV, BCOM" userId="a49f412c-db83-45d3-9142-dc597ff7d65b" providerId="ADAL" clId="{5B98A539-8DC4-4EF2-9B1A-FD031484DCA4}" dt="2023-06-13T00:39:27.904" v="215" actId="478"/>
          <ac:spMkLst>
            <pc:docMk/>
            <pc:sldMk cId="954989905" sldId="2146847848"/>
            <ac:spMk id="47" creationId="{13FF7E96-4972-4A25-8B3C-E78FC8223A0B}"/>
          </ac:spMkLst>
        </pc:spChg>
        <pc:spChg chg="mod">
          <ac:chgData name="Zhu Arena, GFTIOV, BCOM" userId="a49f412c-db83-45d3-9142-dc597ff7d65b" providerId="ADAL" clId="{5B98A539-8DC4-4EF2-9B1A-FD031484DCA4}" dt="2023-06-13T11:38:18.168" v="652" actId="20577"/>
          <ac:spMkLst>
            <pc:docMk/>
            <pc:sldMk cId="954989905" sldId="2146847848"/>
            <ac:spMk id="58" creationId="{DAA8DBB8-9BD6-4F78-81CC-ABF280392DEA}"/>
          </ac:spMkLst>
        </pc:spChg>
        <pc:spChg chg="mod">
          <ac:chgData name="Zhu Arena, GFTIOV, BCOM" userId="a49f412c-db83-45d3-9142-dc597ff7d65b" providerId="ADAL" clId="{5B98A539-8DC4-4EF2-9B1A-FD031484DCA4}" dt="2023-06-13T11:38:06.012" v="642" actId="20577"/>
          <ac:spMkLst>
            <pc:docMk/>
            <pc:sldMk cId="954989905" sldId="2146847848"/>
            <ac:spMk id="60" creationId="{A9A0FCCC-45E0-4996-8B55-C8A0841D6067}"/>
          </ac:spMkLst>
        </pc:spChg>
        <pc:spChg chg="mod">
          <ac:chgData name="Zhu Arena, GFTIOV, BCOM" userId="a49f412c-db83-45d3-9142-dc597ff7d65b" providerId="ADAL" clId="{5B98A539-8DC4-4EF2-9B1A-FD031484DCA4}" dt="2023-06-13T11:37:43.142" v="619" actId="20577"/>
          <ac:spMkLst>
            <pc:docMk/>
            <pc:sldMk cId="954989905" sldId="2146847848"/>
            <ac:spMk id="62" creationId="{67341109-5DC1-4CAF-85EC-FB9CB8936A99}"/>
          </ac:spMkLst>
        </pc:spChg>
        <pc:spChg chg="mod">
          <ac:chgData name="Zhu Arena, GFTIOV, BCOM" userId="a49f412c-db83-45d3-9142-dc597ff7d65b" providerId="ADAL" clId="{5B98A539-8DC4-4EF2-9B1A-FD031484DCA4}" dt="2023-06-13T00:42:58.895" v="269" actId="1038"/>
          <ac:spMkLst>
            <pc:docMk/>
            <pc:sldMk cId="954989905" sldId="2146847848"/>
            <ac:spMk id="64" creationId="{626AC90B-133A-45D8-92CE-685B45448F89}"/>
          </ac:spMkLst>
        </pc:spChg>
        <pc:spChg chg="mod">
          <ac:chgData name="Zhu Arena, GFTIOV, BCOM" userId="a49f412c-db83-45d3-9142-dc597ff7d65b" providerId="ADAL" clId="{5B98A539-8DC4-4EF2-9B1A-FD031484DCA4}" dt="2023-06-13T00:42:58.895" v="269" actId="1038"/>
          <ac:spMkLst>
            <pc:docMk/>
            <pc:sldMk cId="954989905" sldId="2146847848"/>
            <ac:spMk id="66" creationId="{BC6B6CAF-8CAB-47DB-BD54-80F20BDEF796}"/>
          </ac:spMkLst>
        </pc:spChg>
        <pc:spChg chg="mod">
          <ac:chgData name="Zhu Arena, GFTIOV, BCOM" userId="a49f412c-db83-45d3-9142-dc597ff7d65b" providerId="ADAL" clId="{5B98A539-8DC4-4EF2-9B1A-FD031484DCA4}" dt="2023-06-13T11:35:21.605" v="516" actId="20577"/>
          <ac:spMkLst>
            <pc:docMk/>
            <pc:sldMk cId="954989905" sldId="2146847848"/>
            <ac:spMk id="68" creationId="{281B50C0-EF83-40DD-B321-131E1394DE69}"/>
          </ac:spMkLst>
        </pc:spChg>
        <pc:graphicFrameChg chg="mod modGraphic">
          <ac:chgData name="Zhu Arena, GFTIOV, BCOM" userId="a49f412c-db83-45d3-9142-dc597ff7d65b" providerId="ADAL" clId="{5B98A539-8DC4-4EF2-9B1A-FD031484DCA4}" dt="2023-06-13T00:41:29.986" v="253" actId="403"/>
          <ac:graphicFrameMkLst>
            <pc:docMk/>
            <pc:sldMk cId="954989905" sldId="2146847848"/>
            <ac:graphicFrameMk id="2" creationId="{2ADA33E0-1AE7-4303-E3F0-7F71DBF71642}"/>
          </ac:graphicFrameMkLst>
        </pc:graphicFrameChg>
        <pc:picChg chg="add del mod">
          <ac:chgData name="Zhu Arena, GFTIOV, BCOM" userId="a49f412c-db83-45d3-9142-dc597ff7d65b" providerId="ADAL" clId="{5B98A539-8DC4-4EF2-9B1A-FD031484DCA4}" dt="2023-06-13T11:37:50.259" v="620" actId="478"/>
          <ac:picMkLst>
            <pc:docMk/>
            <pc:sldMk cId="954989905" sldId="2146847848"/>
            <ac:picMk id="6" creationId="{265DDCBF-8ED5-213B-8D45-B8EFD497C423}"/>
          </ac:picMkLst>
        </pc:picChg>
        <pc:picChg chg="mod">
          <ac:chgData name="Zhu Arena, GFTIOV, BCOM" userId="a49f412c-db83-45d3-9142-dc597ff7d65b" providerId="ADAL" clId="{5B98A539-8DC4-4EF2-9B1A-FD031484DCA4}" dt="2023-06-13T11:34:46.181" v="426" actId="1038"/>
          <ac:picMkLst>
            <pc:docMk/>
            <pc:sldMk cId="954989905" sldId="2146847848"/>
            <ac:picMk id="7" creationId="{30139DF7-50C3-43F4-ABAB-19FD59BCEDF9}"/>
          </ac:picMkLst>
        </pc:picChg>
        <pc:picChg chg="mod">
          <ac:chgData name="Zhu Arena, GFTIOV, BCOM" userId="a49f412c-db83-45d3-9142-dc597ff7d65b" providerId="ADAL" clId="{5B98A539-8DC4-4EF2-9B1A-FD031484DCA4}" dt="2023-06-13T00:42:16.830" v="260" actId="1035"/>
          <ac:picMkLst>
            <pc:docMk/>
            <pc:sldMk cId="954989905" sldId="2146847848"/>
            <ac:picMk id="49" creationId="{8FE19D40-17F2-4B15-B663-4B50E1856D63}"/>
          </ac:picMkLst>
        </pc:picChg>
        <pc:picChg chg="mod">
          <ac:chgData name="Zhu Arena, GFTIOV, BCOM" userId="a49f412c-db83-45d3-9142-dc597ff7d65b" providerId="ADAL" clId="{5B98A539-8DC4-4EF2-9B1A-FD031484DCA4}" dt="2023-06-13T00:42:45.218" v="267" actId="1076"/>
          <ac:picMkLst>
            <pc:docMk/>
            <pc:sldMk cId="954989905" sldId="2146847848"/>
            <ac:picMk id="51" creationId="{C6A01DCF-5ADF-4494-A80F-74DDD18F783C}"/>
          </ac:picMkLst>
        </pc:picChg>
        <pc:picChg chg="mod">
          <ac:chgData name="Zhu Arena, GFTIOV, BCOM" userId="a49f412c-db83-45d3-9142-dc597ff7d65b" providerId="ADAL" clId="{5B98A539-8DC4-4EF2-9B1A-FD031484DCA4}" dt="2023-06-13T00:42:16.830" v="260" actId="1035"/>
          <ac:picMkLst>
            <pc:docMk/>
            <pc:sldMk cId="954989905" sldId="2146847848"/>
            <ac:picMk id="52" creationId="{DA034A73-A065-45A5-A496-7E2F4E36FEEA}"/>
          </ac:picMkLst>
        </pc:picChg>
        <pc:picChg chg="mod">
          <ac:chgData name="Zhu Arena, GFTIOV, BCOM" userId="a49f412c-db83-45d3-9142-dc597ff7d65b" providerId="ADAL" clId="{5B98A539-8DC4-4EF2-9B1A-FD031484DCA4}" dt="2023-06-13T00:42:16.830" v="260" actId="1035"/>
          <ac:picMkLst>
            <pc:docMk/>
            <pc:sldMk cId="954989905" sldId="2146847848"/>
            <ac:picMk id="54" creationId="{E1DEA90B-7E4B-4E34-B32C-8C9F9B12DDF9}"/>
          </ac:picMkLst>
        </pc:picChg>
        <pc:picChg chg="mod">
          <ac:chgData name="Zhu Arena, GFTIOV, BCOM" userId="a49f412c-db83-45d3-9142-dc597ff7d65b" providerId="ADAL" clId="{5B98A539-8DC4-4EF2-9B1A-FD031484DCA4}" dt="2023-06-13T00:42:16.830" v="260" actId="1035"/>
          <ac:picMkLst>
            <pc:docMk/>
            <pc:sldMk cId="954989905" sldId="2146847848"/>
            <ac:picMk id="52224" creationId="{4778CA23-F5F1-432B-ADC8-7B6450A93F5D}"/>
          </ac:picMkLst>
        </pc:picChg>
        <pc:picChg chg="mod">
          <ac:chgData name="Zhu Arena, GFTIOV, BCOM" userId="a49f412c-db83-45d3-9142-dc597ff7d65b" providerId="ADAL" clId="{5B98A539-8DC4-4EF2-9B1A-FD031484DCA4}" dt="2023-06-13T00:41:49.841" v="257" actId="14100"/>
          <ac:picMkLst>
            <pc:docMk/>
            <pc:sldMk cId="954989905" sldId="2146847848"/>
            <ac:picMk id="53252" creationId="{C56C9894-3EB6-4F21-AFA3-283FDFF4827E}"/>
          </ac:picMkLst>
        </pc:picChg>
        <pc:cxnChg chg="del">
          <ac:chgData name="Zhu Arena, GFTIOV, BCOM" userId="a49f412c-db83-45d3-9142-dc597ff7d65b" providerId="ADAL" clId="{5B98A539-8DC4-4EF2-9B1A-FD031484DCA4}" dt="2023-06-13T00:40:00.004" v="224" actId="478"/>
          <ac:cxnSpMkLst>
            <pc:docMk/>
            <pc:sldMk cId="954989905" sldId="2146847848"/>
            <ac:cxnSpMk id="52227" creationId="{69886019-A25B-4B8D-BFA3-A2BFE0420836}"/>
          </ac:cxnSpMkLst>
        </pc:cxnChg>
      </pc:sldChg>
      <pc:sldChg chg="modSp mod">
        <pc:chgData name="Zhu Arena, GFTIOV, BCOM" userId="a49f412c-db83-45d3-9142-dc597ff7d65b" providerId="ADAL" clId="{5B98A539-8DC4-4EF2-9B1A-FD031484DCA4}" dt="2023-06-13T04:51:53.931" v="322" actId="1076"/>
        <pc:sldMkLst>
          <pc:docMk/>
          <pc:sldMk cId="1925934639" sldId="2146847849"/>
        </pc:sldMkLst>
        <pc:spChg chg="mod">
          <ac:chgData name="Zhu Arena, GFTIOV, BCOM" userId="a49f412c-db83-45d3-9142-dc597ff7d65b" providerId="ADAL" clId="{5B98A539-8DC4-4EF2-9B1A-FD031484DCA4}" dt="2023-06-13T00:43:27.136" v="271" actId="242"/>
          <ac:spMkLst>
            <pc:docMk/>
            <pc:sldMk cId="1925934639" sldId="2146847849"/>
            <ac:spMk id="2" creationId="{4C4583B0-E52D-B65D-5FE6-4E2E2D6E7411}"/>
          </ac:spMkLst>
        </pc:spChg>
        <pc:spChg chg="mod">
          <ac:chgData name="Zhu Arena, GFTIOV, BCOM" userId="a49f412c-db83-45d3-9142-dc597ff7d65b" providerId="ADAL" clId="{5B98A539-8DC4-4EF2-9B1A-FD031484DCA4}" dt="2023-06-13T00:37:06.610" v="149" actId="403"/>
          <ac:spMkLst>
            <pc:docMk/>
            <pc:sldMk cId="1925934639" sldId="2146847849"/>
            <ac:spMk id="7" creationId="{00000000-0000-0000-0000-000000000000}"/>
          </ac:spMkLst>
        </pc:spChg>
        <pc:spChg chg="mod">
          <ac:chgData name="Zhu Arena, GFTIOV, BCOM" userId="a49f412c-db83-45d3-9142-dc597ff7d65b" providerId="ADAL" clId="{5B98A539-8DC4-4EF2-9B1A-FD031484DCA4}" dt="2023-06-13T04:51:53.931" v="322" actId="1076"/>
          <ac:spMkLst>
            <pc:docMk/>
            <pc:sldMk cId="1925934639" sldId="2146847849"/>
            <ac:spMk id="29" creationId="{48F9654F-EC63-9588-6AB7-5BD2EDC5468F}"/>
          </ac:spMkLst>
        </pc:spChg>
        <pc:spChg chg="mod">
          <ac:chgData name="Zhu Arena, GFTIOV, BCOM" userId="a49f412c-db83-45d3-9142-dc597ff7d65b" providerId="ADAL" clId="{5B98A539-8DC4-4EF2-9B1A-FD031484DCA4}" dt="2023-06-13T00:37:48.032" v="163" actId="6549"/>
          <ac:spMkLst>
            <pc:docMk/>
            <pc:sldMk cId="1925934639" sldId="2146847849"/>
            <ac:spMk id="53" creationId="{81C8943E-AB4F-8057-EB85-FDBC631B1293}"/>
          </ac:spMkLst>
        </pc:spChg>
        <pc:spChg chg="mod">
          <ac:chgData name="Zhu Arena, GFTIOV, BCOM" userId="a49f412c-db83-45d3-9142-dc597ff7d65b" providerId="ADAL" clId="{5B98A539-8DC4-4EF2-9B1A-FD031484DCA4}" dt="2023-06-13T00:37:57.163" v="165" actId="6549"/>
          <ac:spMkLst>
            <pc:docMk/>
            <pc:sldMk cId="1925934639" sldId="2146847849"/>
            <ac:spMk id="54" creationId="{EFFA5014-D1E4-4536-2BFE-EFFE80ABFF5C}"/>
          </ac:spMkLst>
        </pc:spChg>
        <pc:spChg chg="mod">
          <ac:chgData name="Zhu Arena, GFTIOV, BCOM" userId="a49f412c-db83-45d3-9142-dc597ff7d65b" providerId="ADAL" clId="{5B98A539-8DC4-4EF2-9B1A-FD031484DCA4}" dt="2023-06-13T00:37:43.440" v="160" actId="6549"/>
          <ac:spMkLst>
            <pc:docMk/>
            <pc:sldMk cId="1925934639" sldId="2146847849"/>
            <ac:spMk id="56" creationId="{5FC5D4D3-47A7-A5D7-3E8E-2241C8BCC998}"/>
          </ac:spMkLst>
        </pc:spChg>
        <pc:spChg chg="mod">
          <ac:chgData name="Zhu Arena, GFTIOV, BCOM" userId="a49f412c-db83-45d3-9142-dc597ff7d65b" providerId="ADAL" clId="{5B98A539-8DC4-4EF2-9B1A-FD031484DCA4}" dt="2023-06-13T00:38:03.825" v="168" actId="6549"/>
          <ac:spMkLst>
            <pc:docMk/>
            <pc:sldMk cId="1925934639" sldId="2146847849"/>
            <ac:spMk id="57" creationId="{7DFAAB83-FDA5-7B7B-399A-5C8199D90125}"/>
          </ac:spMkLst>
        </pc:spChg>
        <pc:spChg chg="mod">
          <ac:chgData name="Zhu Arena, GFTIOV, BCOM" userId="a49f412c-db83-45d3-9142-dc597ff7d65b" providerId="ADAL" clId="{5B98A539-8DC4-4EF2-9B1A-FD031484DCA4}" dt="2023-06-13T00:37:53.945" v="164" actId="20577"/>
          <ac:spMkLst>
            <pc:docMk/>
            <pc:sldMk cId="1925934639" sldId="2146847849"/>
            <ac:spMk id="58" creationId="{210C55D7-0FD2-FA94-9B75-331D94EEBA3F}"/>
          </ac:spMkLst>
        </pc:spChg>
        <pc:spChg chg="mod">
          <ac:chgData name="Zhu Arena, GFTIOV, BCOM" userId="a49f412c-db83-45d3-9142-dc597ff7d65b" providerId="ADAL" clId="{5B98A539-8DC4-4EF2-9B1A-FD031484DCA4}" dt="2023-06-13T00:37:35.834" v="156" actId="20577"/>
          <ac:spMkLst>
            <pc:docMk/>
            <pc:sldMk cId="1925934639" sldId="2146847849"/>
            <ac:spMk id="59" creationId="{78EB8243-3B5E-C518-66F5-1F5EDEAD4999}"/>
          </ac:spMkLst>
        </pc:spChg>
        <pc:spChg chg="mod">
          <ac:chgData name="Zhu Arena, GFTIOV, BCOM" userId="a49f412c-db83-45d3-9142-dc597ff7d65b" providerId="ADAL" clId="{5B98A539-8DC4-4EF2-9B1A-FD031484DCA4}" dt="2023-06-13T00:38:01.555" v="167" actId="6549"/>
          <ac:spMkLst>
            <pc:docMk/>
            <pc:sldMk cId="1925934639" sldId="2146847849"/>
            <ac:spMk id="60" creationId="{F47A0C44-5062-F3FB-4A2C-18997613BE23}"/>
          </ac:spMkLst>
        </pc:spChg>
        <pc:spChg chg="mod">
          <ac:chgData name="Zhu Arena, GFTIOV, BCOM" userId="a49f412c-db83-45d3-9142-dc597ff7d65b" providerId="ADAL" clId="{5B98A539-8DC4-4EF2-9B1A-FD031484DCA4}" dt="2023-06-13T00:37:59.311" v="166" actId="6549"/>
          <ac:spMkLst>
            <pc:docMk/>
            <pc:sldMk cId="1925934639" sldId="2146847849"/>
            <ac:spMk id="75" creationId="{11821E30-4CFF-4B96-8906-817C7E0B3B34}"/>
          </ac:spMkLst>
        </pc:spChg>
        <pc:spChg chg="mod">
          <ac:chgData name="Zhu Arena, GFTIOV, BCOM" userId="a49f412c-db83-45d3-9142-dc597ff7d65b" providerId="ADAL" clId="{5B98A539-8DC4-4EF2-9B1A-FD031484DCA4}" dt="2023-06-13T00:37:39.351" v="157" actId="20577"/>
          <ac:spMkLst>
            <pc:docMk/>
            <pc:sldMk cId="1925934639" sldId="2146847849"/>
            <ac:spMk id="76" creationId="{1F80684A-E158-B885-0BFF-B45390361E86}"/>
          </ac:spMkLst>
        </pc:spChg>
        <pc:spChg chg="mod">
          <ac:chgData name="Zhu Arena, GFTIOV, BCOM" userId="a49f412c-db83-45d3-9142-dc597ff7d65b" providerId="ADAL" clId="{5B98A539-8DC4-4EF2-9B1A-FD031484DCA4}" dt="2023-06-13T00:37:32.491" v="155" actId="242"/>
          <ac:spMkLst>
            <pc:docMk/>
            <pc:sldMk cId="1925934639" sldId="2146847849"/>
            <ac:spMk id="80" creationId="{493CEA0A-CC60-59CC-38D9-0B543E05F6A0}"/>
          </ac:spMkLst>
        </pc:spChg>
        <pc:spChg chg="mod">
          <ac:chgData name="Zhu Arena, GFTIOV, BCOM" userId="a49f412c-db83-45d3-9142-dc597ff7d65b" providerId="ADAL" clId="{5B98A539-8DC4-4EF2-9B1A-FD031484DCA4}" dt="2023-06-13T00:37:32.491" v="155" actId="242"/>
          <ac:spMkLst>
            <pc:docMk/>
            <pc:sldMk cId="1925934639" sldId="2146847849"/>
            <ac:spMk id="81" creationId="{7CBA7A11-CAE6-8BB0-3F75-5D89ECD5EF0F}"/>
          </ac:spMkLst>
        </pc:spChg>
        <pc:spChg chg="mod">
          <ac:chgData name="Zhu Arena, GFTIOV, BCOM" userId="a49f412c-db83-45d3-9142-dc597ff7d65b" providerId="ADAL" clId="{5B98A539-8DC4-4EF2-9B1A-FD031484DCA4}" dt="2023-06-13T00:37:32.491" v="155" actId="242"/>
          <ac:spMkLst>
            <pc:docMk/>
            <pc:sldMk cId="1925934639" sldId="2146847849"/>
            <ac:spMk id="82" creationId="{701D35F3-677C-3C83-D278-7F3ED425BF6E}"/>
          </ac:spMkLst>
        </pc:spChg>
      </pc:sldChg>
      <pc:sldChg chg="modSp mod">
        <pc:chgData name="Zhu Arena, GFTIOV, BCOM" userId="a49f412c-db83-45d3-9142-dc597ff7d65b" providerId="ADAL" clId="{5B98A539-8DC4-4EF2-9B1A-FD031484DCA4}" dt="2023-06-13T11:41:42.889" v="655" actId="207"/>
        <pc:sldMkLst>
          <pc:docMk/>
          <pc:sldMk cId="1519341750" sldId="2146847851"/>
        </pc:sldMkLst>
        <pc:spChg chg="mod">
          <ac:chgData name="Zhu Arena, GFTIOV, BCOM" userId="a49f412c-db83-45d3-9142-dc597ff7d65b" providerId="ADAL" clId="{5B98A539-8DC4-4EF2-9B1A-FD031484DCA4}" dt="2023-06-13T11:41:42.889" v="655" actId="207"/>
          <ac:spMkLst>
            <pc:docMk/>
            <pc:sldMk cId="1519341750" sldId="2146847851"/>
            <ac:spMk id="60" creationId="{B99F1076-67C5-7F83-D0F0-82DC1A5A97DC}"/>
          </ac:spMkLst>
        </pc:spChg>
        <pc:spChg chg="mod">
          <ac:chgData name="Zhu Arena, GFTIOV, BCOM" userId="a49f412c-db83-45d3-9142-dc597ff7d65b" providerId="ADAL" clId="{5B98A539-8DC4-4EF2-9B1A-FD031484DCA4}" dt="2023-06-13T04:46:26.158" v="281" actId="14100"/>
          <ac:spMkLst>
            <pc:docMk/>
            <pc:sldMk cId="1519341750" sldId="2146847851"/>
            <ac:spMk id="62" creationId="{7C641265-E6E4-03BC-F6D3-070B187D05E8}"/>
          </ac:spMkLst>
        </pc:spChg>
      </pc:sldChg>
      <pc:sldChg chg="delSp modSp mod ord">
        <pc:chgData name="Zhu Arena, GFTIOV, BCOM" userId="a49f412c-db83-45d3-9142-dc597ff7d65b" providerId="ADAL" clId="{5B98A539-8DC4-4EF2-9B1A-FD031484DCA4}" dt="2023-06-13T11:38:36.612" v="653" actId="478"/>
        <pc:sldMkLst>
          <pc:docMk/>
          <pc:sldMk cId="1490636253" sldId="2146847854"/>
        </pc:sldMkLst>
        <pc:spChg chg="mod">
          <ac:chgData name="Zhu Arena, GFTIOV, BCOM" userId="a49f412c-db83-45d3-9142-dc597ff7d65b" providerId="ADAL" clId="{5B98A539-8DC4-4EF2-9B1A-FD031484DCA4}" dt="2023-06-13T00:36:27.532" v="138" actId="403"/>
          <ac:spMkLst>
            <pc:docMk/>
            <pc:sldMk cId="1490636253" sldId="2146847854"/>
            <ac:spMk id="2" creationId="{6AEC8E5D-8959-275E-A71E-96A528A8C48D}"/>
          </ac:spMkLst>
        </pc:spChg>
        <pc:spChg chg="del mod">
          <ac:chgData name="Zhu Arena, GFTIOV, BCOM" userId="a49f412c-db83-45d3-9142-dc597ff7d65b" providerId="ADAL" clId="{5B98A539-8DC4-4EF2-9B1A-FD031484DCA4}" dt="2023-06-13T11:38:36.612" v="653" actId="478"/>
          <ac:spMkLst>
            <pc:docMk/>
            <pc:sldMk cId="1490636253" sldId="2146847854"/>
            <ac:spMk id="5" creationId="{355DDEE8-1A46-3336-0CD9-1C1CA30FA82E}"/>
          </ac:spMkLst>
        </pc:spChg>
      </pc:sldChg>
      <pc:sldChg chg="add">
        <pc:chgData name="Zhu Arena, GFTIOV, BCOM" userId="a49f412c-db83-45d3-9142-dc597ff7d65b" providerId="ADAL" clId="{5B98A539-8DC4-4EF2-9B1A-FD031484DCA4}" dt="2023-06-13T12:23:10.631" v="966"/>
        <pc:sldMkLst>
          <pc:docMk/>
          <pc:sldMk cId="1195639279" sldId="2146847876"/>
        </pc:sldMkLst>
      </pc:sldChg>
      <pc:sldChg chg="addSp delSp modSp add mod modClrScheme chgLayout">
        <pc:chgData name="Zhu Arena, GFTIOV, BCOM" userId="a49f412c-db83-45d3-9142-dc597ff7d65b" providerId="ADAL" clId="{5B98A539-8DC4-4EF2-9B1A-FD031484DCA4}" dt="2023-06-13T12:21:23.037" v="965" actId="207"/>
        <pc:sldMkLst>
          <pc:docMk/>
          <pc:sldMk cId="2975353482" sldId="2147470798"/>
        </pc:sldMkLst>
        <pc:spChg chg="mod ord">
          <ac:chgData name="Zhu Arena, GFTIOV, BCOM" userId="a49f412c-db83-45d3-9142-dc597ff7d65b" providerId="ADAL" clId="{5B98A539-8DC4-4EF2-9B1A-FD031484DCA4}" dt="2023-06-13T12:14:41.450" v="897" actId="20577"/>
          <ac:spMkLst>
            <pc:docMk/>
            <pc:sldMk cId="2975353482" sldId="2147470798"/>
            <ac:spMk id="2" creationId="{D8C9B593-BA22-A35F-8AA9-7773990E7F85}"/>
          </ac:spMkLst>
        </pc:spChg>
        <pc:spChg chg="mod ord">
          <ac:chgData name="Zhu Arena, GFTIOV, BCOM" userId="a49f412c-db83-45d3-9142-dc597ff7d65b" providerId="ADAL" clId="{5B98A539-8DC4-4EF2-9B1A-FD031484DCA4}" dt="2023-06-13T12:06:31.892" v="767" actId="700"/>
          <ac:spMkLst>
            <pc:docMk/>
            <pc:sldMk cId="2975353482" sldId="2147470798"/>
            <ac:spMk id="3" creationId="{C3C994B2-9765-9E12-210F-8788C1ED0419}"/>
          </ac:spMkLst>
        </pc:spChg>
        <pc:spChg chg="add mod ord">
          <ac:chgData name="Zhu Arena, GFTIOV, BCOM" userId="a49f412c-db83-45d3-9142-dc597ff7d65b" providerId="ADAL" clId="{5B98A539-8DC4-4EF2-9B1A-FD031484DCA4}" dt="2023-06-13T12:20:54.215" v="924" actId="1036"/>
          <ac:spMkLst>
            <pc:docMk/>
            <pc:sldMk cId="2975353482" sldId="2147470798"/>
            <ac:spMk id="4" creationId="{BABF56A8-0F6B-F06E-B4DA-73CE20314D5F}"/>
          </ac:spMkLst>
        </pc:spChg>
        <pc:spChg chg="add del mod">
          <ac:chgData name="Zhu Arena, GFTIOV, BCOM" userId="a49f412c-db83-45d3-9142-dc597ff7d65b" providerId="ADAL" clId="{5B98A539-8DC4-4EF2-9B1A-FD031484DCA4}" dt="2023-06-13T12:02:43.067" v="722"/>
          <ac:spMkLst>
            <pc:docMk/>
            <pc:sldMk cId="2975353482" sldId="2147470798"/>
            <ac:spMk id="9" creationId="{1AF14883-7AE2-A886-E4DF-F07B74379C29}"/>
          </ac:spMkLst>
        </pc:spChg>
        <pc:spChg chg="add del mod ord">
          <ac:chgData name="Zhu Arena, GFTIOV, BCOM" userId="a49f412c-db83-45d3-9142-dc597ff7d65b" providerId="ADAL" clId="{5B98A539-8DC4-4EF2-9B1A-FD031484DCA4}" dt="2023-06-13T12:06:31.892" v="767" actId="700"/>
          <ac:spMkLst>
            <pc:docMk/>
            <pc:sldMk cId="2975353482" sldId="2147470798"/>
            <ac:spMk id="10" creationId="{2A31D394-EACA-58F5-1545-B1164B2F8EC3}"/>
          </ac:spMkLst>
        </pc:spChg>
        <pc:spChg chg="add del mod ord">
          <ac:chgData name="Zhu Arena, GFTIOV, BCOM" userId="a49f412c-db83-45d3-9142-dc597ff7d65b" providerId="ADAL" clId="{5B98A539-8DC4-4EF2-9B1A-FD031484DCA4}" dt="2023-06-13T12:06:31.892" v="767" actId="700"/>
          <ac:spMkLst>
            <pc:docMk/>
            <pc:sldMk cId="2975353482" sldId="2147470798"/>
            <ac:spMk id="11" creationId="{8D33D586-2C00-D2B1-4281-9B728067651A}"/>
          </ac:spMkLst>
        </pc:spChg>
        <pc:spChg chg="add del mod ord">
          <ac:chgData name="Zhu Arena, GFTIOV, BCOM" userId="a49f412c-db83-45d3-9142-dc597ff7d65b" providerId="ADAL" clId="{5B98A539-8DC4-4EF2-9B1A-FD031484DCA4}" dt="2023-06-13T12:06:31.892" v="767" actId="700"/>
          <ac:spMkLst>
            <pc:docMk/>
            <pc:sldMk cId="2975353482" sldId="2147470798"/>
            <ac:spMk id="12" creationId="{9297B372-0FA6-80B9-ED3D-6A36E4A14A91}"/>
          </ac:spMkLst>
        </pc:spChg>
        <pc:spChg chg="add del mod ord">
          <ac:chgData name="Zhu Arena, GFTIOV, BCOM" userId="a49f412c-db83-45d3-9142-dc597ff7d65b" providerId="ADAL" clId="{5B98A539-8DC4-4EF2-9B1A-FD031484DCA4}" dt="2023-06-13T12:06:31.892" v="767" actId="700"/>
          <ac:spMkLst>
            <pc:docMk/>
            <pc:sldMk cId="2975353482" sldId="2147470798"/>
            <ac:spMk id="13" creationId="{E54CD254-9488-5035-DEB7-EC33AE2D3655}"/>
          </ac:spMkLst>
        </pc:spChg>
        <pc:spChg chg="add del mod ord">
          <ac:chgData name="Zhu Arena, GFTIOV, BCOM" userId="a49f412c-db83-45d3-9142-dc597ff7d65b" providerId="ADAL" clId="{5B98A539-8DC4-4EF2-9B1A-FD031484DCA4}" dt="2023-06-13T12:06:31.892" v="767" actId="700"/>
          <ac:spMkLst>
            <pc:docMk/>
            <pc:sldMk cId="2975353482" sldId="2147470798"/>
            <ac:spMk id="14" creationId="{ECDAA7F2-8843-1232-0187-6839CBAFFE09}"/>
          </ac:spMkLst>
        </pc:spChg>
        <pc:spChg chg="add del mod ord">
          <ac:chgData name="Zhu Arena, GFTIOV, BCOM" userId="a49f412c-db83-45d3-9142-dc597ff7d65b" providerId="ADAL" clId="{5B98A539-8DC4-4EF2-9B1A-FD031484DCA4}" dt="2023-06-13T12:06:31.892" v="767" actId="700"/>
          <ac:spMkLst>
            <pc:docMk/>
            <pc:sldMk cId="2975353482" sldId="2147470798"/>
            <ac:spMk id="15" creationId="{59DD58E5-376D-1438-DF9D-727F9CE9C4FB}"/>
          </ac:spMkLst>
        </pc:spChg>
        <pc:spChg chg="add del mod ord">
          <ac:chgData name="Zhu Arena, GFTIOV, BCOM" userId="a49f412c-db83-45d3-9142-dc597ff7d65b" providerId="ADAL" clId="{5B98A539-8DC4-4EF2-9B1A-FD031484DCA4}" dt="2023-06-13T12:06:31.892" v="767" actId="700"/>
          <ac:spMkLst>
            <pc:docMk/>
            <pc:sldMk cId="2975353482" sldId="2147470798"/>
            <ac:spMk id="16" creationId="{CEECB82E-26D6-9237-5ADA-25860FBC365B}"/>
          </ac:spMkLst>
        </pc:spChg>
        <pc:spChg chg="add del mod ord">
          <ac:chgData name="Zhu Arena, GFTIOV, BCOM" userId="a49f412c-db83-45d3-9142-dc597ff7d65b" providerId="ADAL" clId="{5B98A539-8DC4-4EF2-9B1A-FD031484DCA4}" dt="2023-06-13T12:06:31.892" v="767" actId="700"/>
          <ac:spMkLst>
            <pc:docMk/>
            <pc:sldMk cId="2975353482" sldId="2147470798"/>
            <ac:spMk id="17" creationId="{A3385C04-EB37-A270-4176-9CFBA14F0F95}"/>
          </ac:spMkLst>
        </pc:spChg>
        <pc:spChg chg="add del mod ord">
          <ac:chgData name="Zhu Arena, GFTIOV, BCOM" userId="a49f412c-db83-45d3-9142-dc597ff7d65b" providerId="ADAL" clId="{5B98A539-8DC4-4EF2-9B1A-FD031484DCA4}" dt="2023-06-13T12:06:31.892" v="767" actId="700"/>
          <ac:spMkLst>
            <pc:docMk/>
            <pc:sldMk cId="2975353482" sldId="2147470798"/>
            <ac:spMk id="18" creationId="{CD0152EE-3B5A-FDC8-2F42-7FE46E73CBAE}"/>
          </ac:spMkLst>
        </pc:spChg>
        <pc:spChg chg="add del mod ord">
          <ac:chgData name="Zhu Arena, GFTIOV, BCOM" userId="a49f412c-db83-45d3-9142-dc597ff7d65b" providerId="ADAL" clId="{5B98A539-8DC4-4EF2-9B1A-FD031484DCA4}" dt="2023-06-13T12:06:31.892" v="767" actId="700"/>
          <ac:spMkLst>
            <pc:docMk/>
            <pc:sldMk cId="2975353482" sldId="2147470798"/>
            <ac:spMk id="22" creationId="{9F9AEAE5-EA16-0700-F63C-CEF03915EE18}"/>
          </ac:spMkLst>
        </pc:spChg>
        <pc:spChg chg="add del mod ord">
          <ac:chgData name="Zhu Arena, GFTIOV, BCOM" userId="a49f412c-db83-45d3-9142-dc597ff7d65b" providerId="ADAL" clId="{5B98A539-8DC4-4EF2-9B1A-FD031484DCA4}" dt="2023-06-13T12:06:31.892" v="767" actId="700"/>
          <ac:spMkLst>
            <pc:docMk/>
            <pc:sldMk cId="2975353482" sldId="2147470798"/>
            <ac:spMk id="23" creationId="{29E6A19B-8AAE-DA12-1396-AACCB7053CB9}"/>
          </ac:spMkLst>
        </pc:spChg>
        <pc:spChg chg="del">
          <ac:chgData name="Zhu Arena, GFTIOV, BCOM" userId="a49f412c-db83-45d3-9142-dc597ff7d65b" providerId="ADAL" clId="{5B98A539-8DC4-4EF2-9B1A-FD031484DCA4}" dt="2023-06-13T12:02:27.890" v="717" actId="478"/>
          <ac:spMkLst>
            <pc:docMk/>
            <pc:sldMk cId="2975353482" sldId="2147470798"/>
            <ac:spMk id="25" creationId="{F6906D94-D4D8-171A-CCB1-B97E2C3E60C9}"/>
          </ac:spMkLst>
        </pc:spChg>
        <pc:spChg chg="mod ord">
          <ac:chgData name="Zhu Arena, GFTIOV, BCOM" userId="a49f412c-db83-45d3-9142-dc597ff7d65b" providerId="ADAL" clId="{5B98A539-8DC4-4EF2-9B1A-FD031484DCA4}" dt="2023-06-13T12:21:23.037" v="965" actId="207"/>
          <ac:spMkLst>
            <pc:docMk/>
            <pc:sldMk cId="2975353482" sldId="2147470798"/>
            <ac:spMk id="26" creationId="{487980D6-E7DC-49EA-1565-2544D3E59F44}"/>
          </ac:spMkLst>
        </pc:spChg>
        <pc:spChg chg="mod ord">
          <ac:chgData name="Zhu Arena, GFTIOV, BCOM" userId="a49f412c-db83-45d3-9142-dc597ff7d65b" providerId="ADAL" clId="{5B98A539-8DC4-4EF2-9B1A-FD031484DCA4}" dt="2023-06-13T12:21:23.037" v="965" actId="207"/>
          <ac:spMkLst>
            <pc:docMk/>
            <pc:sldMk cId="2975353482" sldId="2147470798"/>
            <ac:spMk id="27" creationId="{BABB8F54-B0D2-0040-FCED-03EB76EE5095}"/>
          </ac:spMkLst>
        </pc:spChg>
        <pc:spChg chg="mod ord">
          <ac:chgData name="Zhu Arena, GFTIOV, BCOM" userId="a49f412c-db83-45d3-9142-dc597ff7d65b" providerId="ADAL" clId="{5B98A539-8DC4-4EF2-9B1A-FD031484DCA4}" dt="2023-06-13T12:21:23.037" v="965" actId="207"/>
          <ac:spMkLst>
            <pc:docMk/>
            <pc:sldMk cId="2975353482" sldId="2147470798"/>
            <ac:spMk id="28" creationId="{21D5602F-58E6-E48C-7F09-F65BCA85BA24}"/>
          </ac:spMkLst>
        </pc:spChg>
        <pc:spChg chg="del">
          <ac:chgData name="Zhu Arena, GFTIOV, BCOM" userId="a49f412c-db83-45d3-9142-dc597ff7d65b" providerId="ADAL" clId="{5B98A539-8DC4-4EF2-9B1A-FD031484DCA4}" dt="2023-06-13T12:04:46.027" v="753" actId="478"/>
          <ac:spMkLst>
            <pc:docMk/>
            <pc:sldMk cId="2975353482" sldId="2147470798"/>
            <ac:spMk id="29" creationId="{C367F84B-562C-E754-6376-641F8CCA42F3}"/>
          </ac:spMkLst>
        </pc:spChg>
        <pc:spChg chg="mod">
          <ac:chgData name="Zhu Arena, GFTIOV, BCOM" userId="a49f412c-db83-45d3-9142-dc597ff7d65b" providerId="ADAL" clId="{5B98A539-8DC4-4EF2-9B1A-FD031484DCA4}" dt="2023-06-13T12:08:37.416" v="773" actId="948"/>
          <ac:spMkLst>
            <pc:docMk/>
            <pc:sldMk cId="2975353482" sldId="2147470798"/>
            <ac:spMk id="30" creationId="{D0B69C70-1DCA-A3D9-8FED-D072A2FF0A10}"/>
          </ac:spMkLst>
        </pc:spChg>
        <pc:spChg chg="mod">
          <ac:chgData name="Zhu Arena, GFTIOV, BCOM" userId="a49f412c-db83-45d3-9142-dc597ff7d65b" providerId="ADAL" clId="{5B98A539-8DC4-4EF2-9B1A-FD031484DCA4}" dt="2023-06-13T12:08:46.739" v="774" actId="948"/>
          <ac:spMkLst>
            <pc:docMk/>
            <pc:sldMk cId="2975353482" sldId="2147470798"/>
            <ac:spMk id="31" creationId="{7DCCCA41-EC66-1B8B-F6E3-63168E79E314}"/>
          </ac:spMkLst>
        </pc:spChg>
        <pc:spChg chg="mod">
          <ac:chgData name="Zhu Arena, GFTIOV, BCOM" userId="a49f412c-db83-45d3-9142-dc597ff7d65b" providerId="ADAL" clId="{5B98A539-8DC4-4EF2-9B1A-FD031484DCA4}" dt="2023-06-13T12:08:57.715" v="775" actId="948"/>
          <ac:spMkLst>
            <pc:docMk/>
            <pc:sldMk cId="2975353482" sldId="2147470798"/>
            <ac:spMk id="32" creationId="{5C735F1E-3E3E-C168-3778-8F823FDD0588}"/>
          </ac:spMkLst>
        </pc:spChg>
        <pc:spChg chg="add del mod ord">
          <ac:chgData name="Zhu Arena, GFTIOV, BCOM" userId="a49f412c-db83-45d3-9142-dc597ff7d65b" providerId="ADAL" clId="{5B98A539-8DC4-4EF2-9B1A-FD031484DCA4}" dt="2023-06-13T12:06:31.892" v="767" actId="700"/>
          <ac:spMkLst>
            <pc:docMk/>
            <pc:sldMk cId="2975353482" sldId="2147470798"/>
            <ac:spMk id="33" creationId="{27C46240-9C9C-B75E-4B2F-AFC9496E6182}"/>
          </ac:spMkLst>
        </pc:spChg>
        <pc:spChg chg="add del mod ord">
          <ac:chgData name="Zhu Arena, GFTIOV, BCOM" userId="a49f412c-db83-45d3-9142-dc597ff7d65b" providerId="ADAL" clId="{5B98A539-8DC4-4EF2-9B1A-FD031484DCA4}" dt="2023-06-13T12:06:31.892" v="767" actId="700"/>
          <ac:spMkLst>
            <pc:docMk/>
            <pc:sldMk cId="2975353482" sldId="2147470798"/>
            <ac:spMk id="34" creationId="{05294661-858E-F794-6463-44AFE769B1FF}"/>
          </ac:spMkLst>
        </pc:spChg>
        <pc:spChg chg="add del mod ord">
          <ac:chgData name="Zhu Arena, GFTIOV, BCOM" userId="a49f412c-db83-45d3-9142-dc597ff7d65b" providerId="ADAL" clId="{5B98A539-8DC4-4EF2-9B1A-FD031484DCA4}" dt="2023-06-13T12:06:31.892" v="767" actId="700"/>
          <ac:spMkLst>
            <pc:docMk/>
            <pc:sldMk cId="2975353482" sldId="2147470798"/>
            <ac:spMk id="35" creationId="{C978B732-ECA1-D933-8FAD-018ECD8A61D8}"/>
          </ac:spMkLst>
        </pc:spChg>
        <pc:spChg chg="add del mod ord">
          <ac:chgData name="Zhu Arena, GFTIOV, BCOM" userId="a49f412c-db83-45d3-9142-dc597ff7d65b" providerId="ADAL" clId="{5B98A539-8DC4-4EF2-9B1A-FD031484DCA4}" dt="2023-06-13T12:06:31.892" v="767" actId="700"/>
          <ac:spMkLst>
            <pc:docMk/>
            <pc:sldMk cId="2975353482" sldId="2147470798"/>
            <ac:spMk id="36" creationId="{52DA2507-31DB-96B9-2791-3E4B75142891}"/>
          </ac:spMkLst>
        </pc:spChg>
        <pc:spChg chg="add del mod ord">
          <ac:chgData name="Zhu Arena, GFTIOV, BCOM" userId="a49f412c-db83-45d3-9142-dc597ff7d65b" providerId="ADAL" clId="{5B98A539-8DC4-4EF2-9B1A-FD031484DCA4}" dt="2023-06-13T12:06:31.892" v="767" actId="700"/>
          <ac:spMkLst>
            <pc:docMk/>
            <pc:sldMk cId="2975353482" sldId="2147470798"/>
            <ac:spMk id="37" creationId="{76BF021F-2342-4F8B-EF16-28723FB7EB3A}"/>
          </ac:spMkLst>
        </pc:spChg>
        <pc:spChg chg="add mod ord">
          <ac:chgData name="Zhu Arena, GFTIOV, BCOM" userId="a49f412c-db83-45d3-9142-dc597ff7d65b" providerId="ADAL" clId="{5B98A539-8DC4-4EF2-9B1A-FD031484DCA4}" dt="2023-06-13T12:20:54.215" v="924" actId="1036"/>
          <ac:spMkLst>
            <pc:docMk/>
            <pc:sldMk cId="2975353482" sldId="2147470798"/>
            <ac:spMk id="38" creationId="{D81DE014-56CF-EF17-E5FD-FB913EB53B85}"/>
          </ac:spMkLst>
        </pc:spChg>
        <pc:spChg chg="add mod ord">
          <ac:chgData name="Zhu Arena, GFTIOV, BCOM" userId="a49f412c-db83-45d3-9142-dc597ff7d65b" providerId="ADAL" clId="{5B98A539-8DC4-4EF2-9B1A-FD031484DCA4}" dt="2023-06-13T12:20:54.215" v="924" actId="1036"/>
          <ac:spMkLst>
            <pc:docMk/>
            <pc:sldMk cId="2975353482" sldId="2147470798"/>
            <ac:spMk id="40" creationId="{AA2A8D90-706F-6A9D-EB00-5444E96CFA1F}"/>
          </ac:spMkLst>
        </pc:spChg>
        <pc:spChg chg="add mod">
          <ac:chgData name="Zhu Arena, GFTIOV, BCOM" userId="a49f412c-db83-45d3-9142-dc597ff7d65b" providerId="ADAL" clId="{5B98A539-8DC4-4EF2-9B1A-FD031484DCA4}" dt="2023-06-13T12:11:15.465" v="885" actId="1076"/>
          <ac:spMkLst>
            <pc:docMk/>
            <pc:sldMk cId="2975353482" sldId="2147470798"/>
            <ac:spMk id="42" creationId="{ADF418FD-EA82-4434-935A-BCA399D0D2B7}"/>
          </ac:spMkLst>
        </pc:spChg>
        <pc:spChg chg="add mod">
          <ac:chgData name="Zhu Arena, GFTIOV, BCOM" userId="a49f412c-db83-45d3-9142-dc597ff7d65b" providerId="ADAL" clId="{5B98A539-8DC4-4EF2-9B1A-FD031484DCA4}" dt="2023-06-13T12:12:22.066" v="888" actId="1076"/>
          <ac:spMkLst>
            <pc:docMk/>
            <pc:sldMk cId="2975353482" sldId="2147470798"/>
            <ac:spMk id="44" creationId="{699DA873-D0A2-7774-BDC0-AFBE36A64400}"/>
          </ac:spMkLst>
        </pc:spChg>
        <pc:spChg chg="add mod">
          <ac:chgData name="Zhu Arena, GFTIOV, BCOM" userId="a49f412c-db83-45d3-9142-dc597ff7d65b" providerId="ADAL" clId="{5B98A539-8DC4-4EF2-9B1A-FD031484DCA4}" dt="2023-06-13T12:12:46.647" v="890"/>
          <ac:spMkLst>
            <pc:docMk/>
            <pc:sldMk cId="2975353482" sldId="2147470798"/>
            <ac:spMk id="46" creationId="{6586DE14-8C12-2579-1903-AD175452B41A}"/>
          </ac:spMkLst>
        </pc:spChg>
        <pc:spChg chg="add del mod">
          <ac:chgData name="Zhu Arena, GFTIOV, BCOM" userId="a49f412c-db83-45d3-9142-dc597ff7d65b" providerId="ADAL" clId="{5B98A539-8DC4-4EF2-9B1A-FD031484DCA4}" dt="2023-06-13T12:20:14.351" v="914"/>
          <ac:spMkLst>
            <pc:docMk/>
            <pc:sldMk cId="2975353482" sldId="2147470798"/>
            <ac:spMk id="51" creationId="{D64D8632-AA88-1B8D-5492-FB126F233D7B}"/>
          </ac:spMkLst>
        </pc:spChg>
        <pc:spChg chg="add mod ord">
          <ac:chgData name="Zhu Arena, GFTIOV, BCOM" userId="a49f412c-db83-45d3-9142-dc597ff7d65b" providerId="ADAL" clId="{5B98A539-8DC4-4EF2-9B1A-FD031484DCA4}" dt="2023-06-13T12:21:10.682" v="964" actId="171"/>
          <ac:spMkLst>
            <pc:docMk/>
            <pc:sldMk cId="2975353482" sldId="2147470798"/>
            <ac:spMk id="52" creationId="{D06584AA-0120-E7A2-DD9C-94446286BC77}"/>
          </ac:spMkLst>
        </pc:spChg>
        <pc:grpChg chg="del">
          <ac:chgData name="Zhu Arena, GFTIOV, BCOM" userId="a49f412c-db83-45d3-9142-dc597ff7d65b" providerId="ADAL" clId="{5B98A539-8DC4-4EF2-9B1A-FD031484DCA4}" dt="2023-06-13T12:02:30.009" v="718" actId="478"/>
          <ac:grpSpMkLst>
            <pc:docMk/>
            <pc:sldMk cId="2975353482" sldId="2147470798"/>
            <ac:grpSpMk id="19" creationId="{88CD861D-E737-7164-5997-F284FC2DA1A0}"/>
          </ac:grpSpMkLst>
        </pc:grpChg>
        <pc:picChg chg="add mod ord">
          <ac:chgData name="Zhu Arena, GFTIOV, BCOM" userId="a49f412c-db83-45d3-9142-dc597ff7d65b" providerId="ADAL" clId="{5B98A539-8DC4-4EF2-9B1A-FD031484DCA4}" dt="2023-06-13T12:20:54.215" v="924" actId="1036"/>
          <ac:picMkLst>
            <pc:docMk/>
            <pc:sldMk cId="2975353482" sldId="2147470798"/>
            <ac:picMk id="6" creationId="{8A801E17-6455-CD21-7789-8AA39AA82EC0}"/>
          </ac:picMkLst>
        </pc:picChg>
        <pc:picChg chg="del mod">
          <ac:chgData name="Zhu Arena, GFTIOV, BCOM" userId="a49f412c-db83-45d3-9142-dc597ff7d65b" providerId="ADAL" clId="{5B98A539-8DC4-4EF2-9B1A-FD031484DCA4}" dt="2023-06-13T12:06:07.730" v="765" actId="478"/>
          <ac:picMkLst>
            <pc:docMk/>
            <pc:sldMk cId="2975353482" sldId="2147470798"/>
            <ac:picMk id="20" creationId="{253ECC22-A960-82C6-C915-587360B96DE8}"/>
          </ac:picMkLst>
        </pc:picChg>
        <pc:picChg chg="del">
          <ac:chgData name="Zhu Arena, GFTIOV, BCOM" userId="a49f412c-db83-45d3-9142-dc597ff7d65b" providerId="ADAL" clId="{5B98A539-8DC4-4EF2-9B1A-FD031484DCA4}" dt="2023-06-13T12:04:49.852" v="754" actId="478"/>
          <ac:picMkLst>
            <pc:docMk/>
            <pc:sldMk cId="2975353482" sldId="2147470798"/>
            <ac:picMk id="21" creationId="{9AACB2AA-C032-FB3C-4BBA-4B7135E3BA84}"/>
          </ac:picMkLst>
        </pc:picChg>
        <pc:picChg chg="del">
          <ac:chgData name="Zhu Arena, GFTIOV, BCOM" userId="a49f412c-db83-45d3-9142-dc597ff7d65b" providerId="ADAL" clId="{5B98A539-8DC4-4EF2-9B1A-FD031484DCA4}" dt="2023-06-13T12:06:00.682" v="764" actId="478"/>
          <ac:picMkLst>
            <pc:docMk/>
            <pc:sldMk cId="2975353482" sldId="2147470798"/>
            <ac:picMk id="24" creationId="{7EFB1F53-F9DC-A8B0-641F-991397B47799}"/>
          </ac:picMkLst>
        </pc:picChg>
        <pc:picChg chg="add mod ord">
          <ac:chgData name="Zhu Arena, GFTIOV, BCOM" userId="a49f412c-db83-45d3-9142-dc597ff7d65b" providerId="ADAL" clId="{5B98A539-8DC4-4EF2-9B1A-FD031484DCA4}" dt="2023-06-13T12:20:54.215" v="924" actId="1036"/>
          <ac:picMkLst>
            <pc:docMk/>
            <pc:sldMk cId="2975353482" sldId="2147470798"/>
            <ac:picMk id="39" creationId="{C73FF04C-715B-6153-972C-C35492FEA09A}"/>
          </ac:picMkLst>
        </pc:picChg>
        <pc:picChg chg="add mod ord">
          <ac:chgData name="Zhu Arena, GFTIOV, BCOM" userId="a49f412c-db83-45d3-9142-dc597ff7d65b" providerId="ADAL" clId="{5B98A539-8DC4-4EF2-9B1A-FD031484DCA4}" dt="2023-06-13T12:20:54.215" v="924" actId="1036"/>
          <ac:picMkLst>
            <pc:docMk/>
            <pc:sldMk cId="2975353482" sldId="2147470798"/>
            <ac:picMk id="41" creationId="{7E0E59D0-D336-9649-E82A-EA25DC2EDC05}"/>
          </ac:picMkLst>
        </pc:picChg>
        <pc:picChg chg="add mod">
          <ac:chgData name="Zhu Arena, GFTIOV, BCOM" userId="a49f412c-db83-45d3-9142-dc597ff7d65b" providerId="ADAL" clId="{5B98A539-8DC4-4EF2-9B1A-FD031484DCA4}" dt="2023-06-13T12:11:15.465" v="885" actId="1076"/>
          <ac:picMkLst>
            <pc:docMk/>
            <pc:sldMk cId="2975353482" sldId="2147470798"/>
            <ac:picMk id="43" creationId="{751F5EB2-13CB-A27A-4740-AA0ED29C6891}"/>
          </ac:picMkLst>
        </pc:picChg>
        <pc:picChg chg="add mod">
          <ac:chgData name="Zhu Arena, GFTIOV, BCOM" userId="a49f412c-db83-45d3-9142-dc597ff7d65b" providerId="ADAL" clId="{5B98A539-8DC4-4EF2-9B1A-FD031484DCA4}" dt="2023-06-13T12:12:22.066" v="888" actId="1076"/>
          <ac:picMkLst>
            <pc:docMk/>
            <pc:sldMk cId="2975353482" sldId="2147470798"/>
            <ac:picMk id="45" creationId="{84FD14DE-FF36-771C-6785-722979422D30}"/>
          </ac:picMkLst>
        </pc:picChg>
        <pc:picChg chg="add mod">
          <ac:chgData name="Zhu Arena, GFTIOV, BCOM" userId="a49f412c-db83-45d3-9142-dc597ff7d65b" providerId="ADAL" clId="{5B98A539-8DC4-4EF2-9B1A-FD031484DCA4}" dt="2023-06-13T12:12:46.647" v="890"/>
          <ac:picMkLst>
            <pc:docMk/>
            <pc:sldMk cId="2975353482" sldId="2147470798"/>
            <ac:picMk id="47" creationId="{9E79A799-9490-9846-0015-478476F6A62B}"/>
          </ac:picMkLst>
        </pc:picChg>
        <pc:picChg chg="add mod ord">
          <ac:chgData name="Zhu Arena, GFTIOV, BCOM" userId="a49f412c-db83-45d3-9142-dc597ff7d65b" providerId="ADAL" clId="{5B98A539-8DC4-4EF2-9B1A-FD031484DCA4}" dt="2023-06-13T12:18:59.525" v="907" actId="14100"/>
          <ac:picMkLst>
            <pc:docMk/>
            <pc:sldMk cId="2975353482" sldId="2147470798"/>
            <ac:picMk id="48" creationId="{D59430C3-0EC5-C1CE-605D-FC2B9C39375E}"/>
          </ac:picMkLst>
        </pc:picChg>
        <pc:picChg chg="add mod ord">
          <ac:chgData name="Zhu Arena, GFTIOV, BCOM" userId="a49f412c-db83-45d3-9142-dc597ff7d65b" providerId="ADAL" clId="{5B98A539-8DC4-4EF2-9B1A-FD031484DCA4}" dt="2023-06-13T12:19:01.836" v="908" actId="14100"/>
          <ac:picMkLst>
            <pc:docMk/>
            <pc:sldMk cId="2975353482" sldId="2147470798"/>
            <ac:picMk id="49" creationId="{5BDC0567-5B1A-03BD-A97A-0867A3B43BF5}"/>
          </ac:picMkLst>
        </pc:picChg>
        <pc:picChg chg="add mod">
          <ac:chgData name="Zhu Arena, GFTIOV, BCOM" userId="a49f412c-db83-45d3-9142-dc597ff7d65b" providerId="ADAL" clId="{5B98A539-8DC4-4EF2-9B1A-FD031484DCA4}" dt="2023-06-13T12:19:42.145" v="912" actId="14100"/>
          <ac:picMkLst>
            <pc:docMk/>
            <pc:sldMk cId="2975353482" sldId="2147470798"/>
            <ac:picMk id="50" creationId="{8B3622AB-F0E7-0ACA-F470-FF3910ACFF00}"/>
          </ac:picMkLst>
        </pc:picChg>
      </pc:sldChg>
      <pc:sldChg chg="addSp delSp modSp add mod">
        <pc:chgData name="Zhu Arena, GFTIOV, BCOM" userId="a49f412c-db83-45d3-9142-dc597ff7d65b" providerId="ADAL" clId="{5B98A539-8DC4-4EF2-9B1A-FD031484DCA4}" dt="2023-06-13T11:47:53.477" v="708"/>
        <pc:sldMkLst>
          <pc:docMk/>
          <pc:sldMk cId="3204132226" sldId="2147470799"/>
        </pc:sldMkLst>
        <pc:spChg chg="add mod">
          <ac:chgData name="Zhu Arena, GFTIOV, BCOM" userId="a49f412c-db83-45d3-9142-dc597ff7d65b" providerId="ADAL" clId="{5B98A539-8DC4-4EF2-9B1A-FD031484DCA4}" dt="2023-06-13T11:47:53.477" v="708"/>
          <ac:spMkLst>
            <pc:docMk/>
            <pc:sldMk cId="3204132226" sldId="2147470799"/>
            <ac:spMk id="6" creationId="{0920AF96-D607-E48F-CF4D-97AC361584A1}"/>
          </ac:spMkLst>
        </pc:spChg>
        <pc:spChg chg="del">
          <ac:chgData name="Zhu Arena, GFTIOV, BCOM" userId="a49f412c-db83-45d3-9142-dc597ff7d65b" providerId="ADAL" clId="{5B98A539-8DC4-4EF2-9B1A-FD031484DCA4}" dt="2023-06-13T11:46:26.368" v="676" actId="478"/>
          <ac:spMkLst>
            <pc:docMk/>
            <pc:sldMk cId="3204132226" sldId="2147470799"/>
            <ac:spMk id="81" creationId="{00000000-0000-0000-0000-000000000000}"/>
          </ac:spMkLst>
        </pc:spChg>
        <pc:spChg chg="del">
          <ac:chgData name="Zhu Arena, GFTIOV, BCOM" userId="a49f412c-db83-45d3-9142-dc597ff7d65b" providerId="ADAL" clId="{5B98A539-8DC4-4EF2-9B1A-FD031484DCA4}" dt="2023-06-13T11:46:26.368" v="676" actId="478"/>
          <ac:spMkLst>
            <pc:docMk/>
            <pc:sldMk cId="3204132226" sldId="2147470799"/>
            <ac:spMk id="154" creationId="{00000000-0000-0000-0000-000000000000}"/>
          </ac:spMkLst>
        </pc:spChg>
        <pc:spChg chg="del">
          <ac:chgData name="Zhu Arena, GFTIOV, BCOM" userId="a49f412c-db83-45d3-9142-dc597ff7d65b" providerId="ADAL" clId="{5B98A539-8DC4-4EF2-9B1A-FD031484DCA4}" dt="2023-06-13T11:46:23.812" v="675" actId="478"/>
          <ac:spMkLst>
            <pc:docMk/>
            <pc:sldMk cId="3204132226" sldId="2147470799"/>
            <ac:spMk id="155" creationId="{00000000-0000-0000-0000-000000000000}"/>
          </ac:spMkLst>
        </pc:spChg>
        <pc:spChg chg="del">
          <ac:chgData name="Zhu Arena, GFTIOV, BCOM" userId="a49f412c-db83-45d3-9142-dc597ff7d65b" providerId="ADAL" clId="{5B98A539-8DC4-4EF2-9B1A-FD031484DCA4}" dt="2023-06-13T11:46:26.368" v="676" actId="478"/>
          <ac:spMkLst>
            <pc:docMk/>
            <pc:sldMk cId="3204132226" sldId="2147470799"/>
            <ac:spMk id="156" creationId="{00000000-0000-0000-0000-000000000000}"/>
          </ac:spMkLst>
        </pc:spChg>
        <pc:spChg chg="del">
          <ac:chgData name="Zhu Arena, GFTIOV, BCOM" userId="a49f412c-db83-45d3-9142-dc597ff7d65b" providerId="ADAL" clId="{5B98A539-8DC4-4EF2-9B1A-FD031484DCA4}" dt="2023-06-13T11:46:26.368" v="676" actId="478"/>
          <ac:spMkLst>
            <pc:docMk/>
            <pc:sldMk cId="3204132226" sldId="2147470799"/>
            <ac:spMk id="157" creationId="{00000000-0000-0000-0000-000000000000}"/>
          </ac:spMkLst>
        </pc:spChg>
        <pc:grpChg chg="del">
          <ac:chgData name="Zhu Arena, GFTIOV, BCOM" userId="a49f412c-db83-45d3-9142-dc597ff7d65b" providerId="ADAL" clId="{5B98A539-8DC4-4EF2-9B1A-FD031484DCA4}" dt="2023-06-13T11:46:22.058" v="674" actId="478"/>
          <ac:grpSpMkLst>
            <pc:docMk/>
            <pc:sldMk cId="3204132226" sldId="2147470799"/>
            <ac:grpSpMk id="153" creationId="{00000000-0000-0000-0000-000000000000}"/>
          </ac:grpSpMkLst>
        </pc:grpChg>
        <pc:graphicFrameChg chg="add mod modGraphic">
          <ac:chgData name="Zhu Arena, GFTIOV, BCOM" userId="a49f412c-db83-45d3-9142-dc597ff7d65b" providerId="ADAL" clId="{5B98A539-8DC4-4EF2-9B1A-FD031484DCA4}" dt="2023-06-13T11:46:52.870" v="680" actId="1076"/>
          <ac:graphicFrameMkLst>
            <pc:docMk/>
            <pc:sldMk cId="3204132226" sldId="2147470799"/>
            <ac:graphicFrameMk id="5" creationId="{44AA8C34-E41A-378C-EFEE-43E21B3A5ACA}"/>
          </ac:graphicFrameMkLst>
        </pc:graphicFrameChg>
        <pc:picChg chg="del">
          <ac:chgData name="Zhu Arena, GFTIOV, BCOM" userId="a49f412c-db83-45d3-9142-dc597ff7d65b" providerId="ADAL" clId="{5B98A539-8DC4-4EF2-9B1A-FD031484DCA4}" dt="2023-06-13T11:46:26.368" v="676" actId="478"/>
          <ac:picMkLst>
            <pc:docMk/>
            <pc:sldMk cId="3204132226" sldId="2147470799"/>
            <ac:picMk id="66" creationId="{00000000-0000-0000-0000-000000000000}"/>
          </ac:picMkLst>
        </pc:picChg>
      </pc:sldChg>
      <pc:sldChg chg="delSp modSp add mod">
        <pc:chgData name="Zhu Arena, GFTIOV, BCOM" userId="a49f412c-db83-45d3-9142-dc597ff7d65b" providerId="ADAL" clId="{5B98A539-8DC4-4EF2-9B1A-FD031484DCA4}" dt="2023-06-13T12:13:32.385" v="896" actId="14100"/>
        <pc:sldMkLst>
          <pc:docMk/>
          <pc:sldMk cId="3318239684" sldId="2147470800"/>
        </pc:sldMkLst>
        <pc:spChg chg="del">
          <ac:chgData name="Zhu Arena, GFTIOV, BCOM" userId="a49f412c-db83-45d3-9142-dc597ff7d65b" providerId="ADAL" clId="{5B98A539-8DC4-4EF2-9B1A-FD031484DCA4}" dt="2023-06-13T12:12:55.129" v="891" actId="478"/>
          <ac:spMkLst>
            <pc:docMk/>
            <pc:sldMk cId="3318239684" sldId="2147470800"/>
            <ac:spMk id="5" creationId="{0A3FCE88-F675-4C3E-8963-F72A6E5BBD50}"/>
          </ac:spMkLst>
        </pc:spChg>
        <pc:spChg chg="mod">
          <ac:chgData name="Zhu Arena, GFTIOV, BCOM" userId="a49f412c-db83-45d3-9142-dc597ff7d65b" providerId="ADAL" clId="{5B98A539-8DC4-4EF2-9B1A-FD031484DCA4}" dt="2023-06-13T12:13:22.207" v="893" actId="14100"/>
          <ac:spMkLst>
            <pc:docMk/>
            <pc:sldMk cId="3318239684" sldId="2147470800"/>
            <ac:spMk id="8" creationId="{F497C887-6187-770C-046C-8584B3D928D5}"/>
          </ac:spMkLst>
        </pc:spChg>
        <pc:spChg chg="del">
          <ac:chgData name="Zhu Arena, GFTIOV, BCOM" userId="a49f412c-db83-45d3-9142-dc597ff7d65b" providerId="ADAL" clId="{5B98A539-8DC4-4EF2-9B1A-FD031484DCA4}" dt="2023-06-13T12:02:05.970" v="714" actId="21"/>
          <ac:spMkLst>
            <pc:docMk/>
            <pc:sldMk cId="3318239684" sldId="2147470800"/>
            <ac:spMk id="19" creationId="{2B9AFE5B-D666-4A5A-8FFF-46DD952C240A}"/>
          </ac:spMkLst>
        </pc:spChg>
        <pc:spChg chg="del">
          <ac:chgData name="Zhu Arena, GFTIOV, BCOM" userId="a49f412c-db83-45d3-9142-dc597ff7d65b" providerId="ADAL" clId="{5B98A539-8DC4-4EF2-9B1A-FD031484DCA4}" dt="2023-06-13T12:11:22.410" v="886" actId="21"/>
          <ac:spMkLst>
            <pc:docMk/>
            <pc:sldMk cId="3318239684" sldId="2147470800"/>
            <ac:spMk id="22" creationId="{4C5961ED-3400-4FC9-A91A-F7A58735A5FE}"/>
          </ac:spMkLst>
        </pc:spChg>
        <pc:spChg chg="del">
          <ac:chgData name="Zhu Arena, GFTIOV, BCOM" userId="a49f412c-db83-45d3-9142-dc597ff7d65b" providerId="ADAL" clId="{5B98A539-8DC4-4EF2-9B1A-FD031484DCA4}" dt="2023-06-13T12:10:43.156" v="880" actId="21"/>
          <ac:spMkLst>
            <pc:docMk/>
            <pc:sldMk cId="3318239684" sldId="2147470800"/>
            <ac:spMk id="25" creationId="{E0DABB92-3C6C-4FE3-ABCF-CD648602DB92}"/>
          </ac:spMkLst>
        </pc:spChg>
        <pc:spChg chg="del">
          <ac:chgData name="Zhu Arena, GFTIOV, BCOM" userId="a49f412c-db83-45d3-9142-dc597ff7d65b" providerId="ADAL" clId="{5B98A539-8DC4-4EF2-9B1A-FD031484DCA4}" dt="2023-06-13T12:12:41.825" v="889" actId="21"/>
          <ac:spMkLst>
            <pc:docMk/>
            <pc:sldMk cId="3318239684" sldId="2147470800"/>
            <ac:spMk id="28" creationId="{79613ACD-08BC-42E2-9F9E-A1F52A26F477}"/>
          </ac:spMkLst>
        </pc:spChg>
        <pc:spChg chg="del">
          <ac:chgData name="Zhu Arena, GFTIOV, BCOM" userId="a49f412c-db83-45d3-9142-dc597ff7d65b" providerId="ADAL" clId="{5B98A539-8DC4-4EF2-9B1A-FD031484DCA4}" dt="2023-06-13T12:10:13.983" v="782" actId="21"/>
          <ac:spMkLst>
            <pc:docMk/>
            <pc:sldMk cId="3318239684" sldId="2147470800"/>
            <ac:spMk id="31" creationId="{4CAD70CE-149C-42FF-9BA9-2D4641C24BFA}"/>
          </ac:spMkLst>
        </pc:spChg>
        <pc:spChg chg="del">
          <ac:chgData name="Zhu Arena, GFTIOV, BCOM" userId="a49f412c-db83-45d3-9142-dc597ff7d65b" providerId="ADAL" clId="{5B98A539-8DC4-4EF2-9B1A-FD031484DCA4}" dt="2023-06-13T12:11:04.049" v="883" actId="21"/>
          <ac:spMkLst>
            <pc:docMk/>
            <pc:sldMk cId="3318239684" sldId="2147470800"/>
            <ac:spMk id="34" creationId="{A91BBDCA-3588-45DD-8E76-2469B713B30F}"/>
          </ac:spMkLst>
        </pc:spChg>
        <pc:spChg chg="del">
          <ac:chgData name="Zhu Arena, GFTIOV, BCOM" userId="a49f412c-db83-45d3-9142-dc597ff7d65b" providerId="ADAL" clId="{5B98A539-8DC4-4EF2-9B1A-FD031484DCA4}" dt="2023-06-13T12:02:05.970" v="714" actId="21"/>
          <ac:spMkLst>
            <pc:docMk/>
            <pc:sldMk cId="3318239684" sldId="2147470800"/>
            <ac:spMk id="58" creationId="{DAA8DBB8-9BD6-4F78-81CC-ABF280392DEA}"/>
          </ac:spMkLst>
        </pc:spChg>
        <pc:spChg chg="del mod">
          <ac:chgData name="Zhu Arena, GFTIOV, BCOM" userId="a49f412c-db83-45d3-9142-dc597ff7d65b" providerId="ADAL" clId="{5B98A539-8DC4-4EF2-9B1A-FD031484DCA4}" dt="2023-06-13T12:02:48.442" v="725"/>
          <ac:spMkLst>
            <pc:docMk/>
            <pc:sldMk cId="3318239684" sldId="2147470800"/>
            <ac:spMk id="60" creationId="{A9A0FCCC-45E0-4996-8B55-C8A0841D6067}"/>
          </ac:spMkLst>
        </pc:spChg>
        <pc:spChg chg="del mod">
          <ac:chgData name="Zhu Arena, GFTIOV, BCOM" userId="a49f412c-db83-45d3-9142-dc597ff7d65b" providerId="ADAL" clId="{5B98A539-8DC4-4EF2-9B1A-FD031484DCA4}" dt="2023-06-13T12:03:41.441" v="735"/>
          <ac:spMkLst>
            <pc:docMk/>
            <pc:sldMk cId="3318239684" sldId="2147470800"/>
            <ac:spMk id="62" creationId="{67341109-5DC1-4CAF-85EC-FB9CB8936A99}"/>
          </ac:spMkLst>
        </pc:spChg>
        <pc:spChg chg="del mod">
          <ac:chgData name="Zhu Arena, GFTIOV, BCOM" userId="a49f412c-db83-45d3-9142-dc597ff7d65b" providerId="ADAL" clId="{5B98A539-8DC4-4EF2-9B1A-FD031484DCA4}" dt="2023-06-13T12:03:57.697" v="741"/>
          <ac:spMkLst>
            <pc:docMk/>
            <pc:sldMk cId="3318239684" sldId="2147470800"/>
            <ac:spMk id="64" creationId="{626AC90B-133A-45D8-92CE-685B45448F89}"/>
          </ac:spMkLst>
        </pc:spChg>
        <pc:spChg chg="del mod">
          <ac:chgData name="Zhu Arena, GFTIOV, BCOM" userId="a49f412c-db83-45d3-9142-dc597ff7d65b" providerId="ADAL" clId="{5B98A539-8DC4-4EF2-9B1A-FD031484DCA4}" dt="2023-06-13T12:04:11.771" v="745"/>
          <ac:spMkLst>
            <pc:docMk/>
            <pc:sldMk cId="3318239684" sldId="2147470800"/>
            <ac:spMk id="66" creationId="{BC6B6CAF-8CAB-47DB-BD54-80F20BDEF796}"/>
          </ac:spMkLst>
        </pc:spChg>
        <pc:spChg chg="del mod">
          <ac:chgData name="Zhu Arena, GFTIOV, BCOM" userId="a49f412c-db83-45d3-9142-dc597ff7d65b" providerId="ADAL" clId="{5B98A539-8DC4-4EF2-9B1A-FD031484DCA4}" dt="2023-06-13T12:04:29.385" v="751"/>
          <ac:spMkLst>
            <pc:docMk/>
            <pc:sldMk cId="3318239684" sldId="2147470800"/>
            <ac:spMk id="68" creationId="{281B50C0-EF83-40DD-B321-131E1394DE69}"/>
          </ac:spMkLst>
        </pc:spChg>
        <pc:graphicFrameChg chg="modGraphic">
          <ac:chgData name="Zhu Arena, GFTIOV, BCOM" userId="a49f412c-db83-45d3-9142-dc597ff7d65b" providerId="ADAL" clId="{5B98A539-8DC4-4EF2-9B1A-FD031484DCA4}" dt="2023-06-13T12:13:25.438" v="894" actId="14100"/>
          <ac:graphicFrameMkLst>
            <pc:docMk/>
            <pc:sldMk cId="3318239684" sldId="2147470800"/>
            <ac:graphicFrameMk id="2" creationId="{2ADA33E0-1AE7-4303-E3F0-7F71DBF71642}"/>
          </ac:graphicFrameMkLst>
        </pc:graphicFrameChg>
        <pc:picChg chg="del">
          <ac:chgData name="Zhu Arena, GFTIOV, BCOM" userId="a49f412c-db83-45d3-9142-dc597ff7d65b" providerId="ADAL" clId="{5B98A539-8DC4-4EF2-9B1A-FD031484DCA4}" dt="2023-06-13T12:12:41.825" v="889" actId="21"/>
          <ac:picMkLst>
            <pc:docMk/>
            <pc:sldMk cId="3318239684" sldId="2147470800"/>
            <ac:picMk id="7" creationId="{30139DF7-50C3-43F4-ABAB-19FD59BCEDF9}"/>
          </ac:picMkLst>
        </pc:picChg>
        <pc:picChg chg="del">
          <ac:chgData name="Zhu Arena, GFTIOV, BCOM" userId="a49f412c-db83-45d3-9142-dc597ff7d65b" providerId="ADAL" clId="{5B98A539-8DC4-4EF2-9B1A-FD031484DCA4}" dt="2023-06-13T12:11:22.410" v="886" actId="21"/>
          <ac:picMkLst>
            <pc:docMk/>
            <pc:sldMk cId="3318239684" sldId="2147470800"/>
            <ac:picMk id="49" creationId="{8FE19D40-17F2-4B15-B663-4B50E1856D63}"/>
          </ac:picMkLst>
        </pc:picChg>
        <pc:picChg chg="del">
          <ac:chgData name="Zhu Arena, GFTIOV, BCOM" userId="a49f412c-db83-45d3-9142-dc597ff7d65b" providerId="ADAL" clId="{5B98A539-8DC4-4EF2-9B1A-FD031484DCA4}" dt="2023-06-13T12:10:13.983" v="782" actId="21"/>
          <ac:picMkLst>
            <pc:docMk/>
            <pc:sldMk cId="3318239684" sldId="2147470800"/>
            <ac:picMk id="51" creationId="{C6A01DCF-5ADF-4494-A80F-74DDD18F783C}"/>
          </ac:picMkLst>
        </pc:picChg>
        <pc:picChg chg="del">
          <ac:chgData name="Zhu Arena, GFTIOV, BCOM" userId="a49f412c-db83-45d3-9142-dc597ff7d65b" providerId="ADAL" clId="{5B98A539-8DC4-4EF2-9B1A-FD031484DCA4}" dt="2023-06-13T12:10:43.156" v="880" actId="21"/>
          <ac:picMkLst>
            <pc:docMk/>
            <pc:sldMk cId="3318239684" sldId="2147470800"/>
            <ac:picMk id="52" creationId="{DA034A73-A065-45A5-A496-7E2F4E36FEEA}"/>
          </ac:picMkLst>
        </pc:picChg>
        <pc:picChg chg="del">
          <ac:chgData name="Zhu Arena, GFTIOV, BCOM" userId="a49f412c-db83-45d3-9142-dc597ff7d65b" providerId="ADAL" clId="{5B98A539-8DC4-4EF2-9B1A-FD031484DCA4}" dt="2023-06-13T12:11:04.049" v="883" actId="21"/>
          <ac:picMkLst>
            <pc:docMk/>
            <pc:sldMk cId="3318239684" sldId="2147470800"/>
            <ac:picMk id="54" creationId="{E1DEA90B-7E4B-4E34-B32C-8C9F9B12DDF9}"/>
          </ac:picMkLst>
        </pc:picChg>
        <pc:picChg chg="del">
          <ac:chgData name="Zhu Arena, GFTIOV, BCOM" userId="a49f412c-db83-45d3-9142-dc597ff7d65b" providerId="ADAL" clId="{5B98A539-8DC4-4EF2-9B1A-FD031484DCA4}" dt="2023-06-13T12:02:05.970" v="714" actId="21"/>
          <ac:picMkLst>
            <pc:docMk/>
            <pc:sldMk cId="3318239684" sldId="2147470800"/>
            <ac:picMk id="52224" creationId="{4778CA23-F5F1-432B-ADC8-7B6450A93F5D}"/>
          </ac:picMkLst>
        </pc:picChg>
        <pc:picChg chg="mod">
          <ac:chgData name="Zhu Arena, GFTIOV, BCOM" userId="a49f412c-db83-45d3-9142-dc597ff7d65b" providerId="ADAL" clId="{5B98A539-8DC4-4EF2-9B1A-FD031484DCA4}" dt="2023-06-13T12:13:32.385" v="896" actId="14100"/>
          <ac:picMkLst>
            <pc:docMk/>
            <pc:sldMk cId="3318239684" sldId="2147470800"/>
            <ac:picMk id="53252" creationId="{C56C9894-3EB6-4F21-AFA3-283FDFF4827E}"/>
          </ac:picMkLst>
        </pc:picChg>
      </pc:sldChg>
    </pc:docChg>
  </pc:docChgLst>
  <pc:docChgLst>
    <pc:chgData name="Zhu Arena, GFTIOV, BCOM" userId="a49f412c-db83-45d3-9142-dc597ff7d65b" providerId="ADAL" clId="{4BB3F029-78C0-4927-843D-B6E7A927105C}"/>
    <pc:docChg chg="undo custSel delSld modSld">
      <pc:chgData name="Zhu Arena, GFTIOV, BCOM" userId="a49f412c-db83-45d3-9142-dc597ff7d65b" providerId="ADAL" clId="{4BB3F029-78C0-4927-843D-B6E7A927105C}" dt="2023-06-12T06:36:21.282" v="451" actId="1036"/>
      <pc:docMkLst>
        <pc:docMk/>
      </pc:docMkLst>
      <pc:sldChg chg="modSp mod">
        <pc:chgData name="Zhu Arena, GFTIOV, BCOM" userId="a49f412c-db83-45d3-9142-dc597ff7d65b" providerId="ADAL" clId="{4BB3F029-78C0-4927-843D-B6E7A927105C}" dt="2023-06-02T07:08:23.472" v="85" actId="20577"/>
        <pc:sldMkLst>
          <pc:docMk/>
          <pc:sldMk cId="981649606" sldId="272"/>
        </pc:sldMkLst>
        <pc:spChg chg="mod">
          <ac:chgData name="Zhu Arena, GFTIOV, BCOM" userId="a49f412c-db83-45d3-9142-dc597ff7d65b" providerId="ADAL" clId="{4BB3F029-78C0-4927-843D-B6E7A927105C}" dt="2023-06-02T07:08:23.472" v="85" actId="20577"/>
          <ac:spMkLst>
            <pc:docMk/>
            <pc:sldMk cId="981649606" sldId="272"/>
            <ac:spMk id="4" creationId="{C8532893-EE03-89AD-7507-E6052EA2217D}"/>
          </ac:spMkLst>
        </pc:spChg>
      </pc:sldChg>
      <pc:sldChg chg="addSp delSp modSp">
        <pc:chgData name="Zhu Arena, GFTIOV, BCOM" userId="a49f412c-db83-45d3-9142-dc597ff7d65b" providerId="ADAL" clId="{4BB3F029-78C0-4927-843D-B6E7A927105C}" dt="2023-06-02T07:37:28.782" v="87" actId="165"/>
        <pc:sldMkLst>
          <pc:docMk/>
          <pc:sldMk cId="3225000591" sldId="922"/>
        </pc:sldMkLst>
        <pc:spChg chg="mod topLvl">
          <ac:chgData name="Zhu Arena, GFTIOV, BCOM" userId="a49f412c-db83-45d3-9142-dc597ff7d65b" providerId="ADAL" clId="{4BB3F029-78C0-4927-843D-B6E7A927105C}" dt="2023-06-02T07:37:28.782" v="87" actId="165"/>
          <ac:spMkLst>
            <pc:docMk/>
            <pc:sldMk cId="3225000591" sldId="922"/>
            <ac:spMk id="36" creationId="{00000000-0000-0000-0000-000000000000}"/>
          </ac:spMkLst>
        </pc:spChg>
        <pc:spChg chg="mod topLvl">
          <ac:chgData name="Zhu Arena, GFTIOV, BCOM" userId="a49f412c-db83-45d3-9142-dc597ff7d65b" providerId="ADAL" clId="{4BB3F029-78C0-4927-843D-B6E7A927105C}" dt="2023-06-02T07:37:28.782" v="87" actId="165"/>
          <ac:spMkLst>
            <pc:docMk/>
            <pc:sldMk cId="3225000591" sldId="922"/>
            <ac:spMk id="46" creationId="{00000000-0000-0000-0000-000000000000}"/>
          </ac:spMkLst>
        </pc:spChg>
        <pc:spChg chg="mod topLvl">
          <ac:chgData name="Zhu Arena, GFTIOV, BCOM" userId="a49f412c-db83-45d3-9142-dc597ff7d65b" providerId="ADAL" clId="{4BB3F029-78C0-4927-843D-B6E7A927105C}" dt="2023-06-02T07:37:28.782" v="87" actId="165"/>
          <ac:spMkLst>
            <pc:docMk/>
            <pc:sldMk cId="3225000591" sldId="922"/>
            <ac:spMk id="47" creationId="{00000000-0000-0000-0000-000000000000}"/>
          </ac:spMkLst>
        </pc:spChg>
        <pc:grpChg chg="add del mod">
          <ac:chgData name="Zhu Arena, GFTIOV, BCOM" userId="a49f412c-db83-45d3-9142-dc597ff7d65b" providerId="ADAL" clId="{4BB3F029-78C0-4927-843D-B6E7A927105C}" dt="2023-06-02T07:37:28.782" v="87" actId="165"/>
          <ac:grpSpMkLst>
            <pc:docMk/>
            <pc:sldMk cId="3225000591" sldId="922"/>
            <ac:grpSpMk id="35" creationId="{00000000-0000-0000-0000-000000000000}"/>
          </ac:grpSpMkLst>
        </pc:grpChg>
      </pc:sldChg>
      <pc:sldChg chg="del">
        <pc:chgData name="Zhu Arena, GFTIOV, BCOM" userId="a49f412c-db83-45d3-9142-dc597ff7d65b" providerId="ADAL" clId="{4BB3F029-78C0-4927-843D-B6E7A927105C}" dt="2023-06-02T07:03:37.703" v="0" actId="47"/>
        <pc:sldMkLst>
          <pc:docMk/>
          <pc:sldMk cId="168904002" sldId="2146846767"/>
        </pc:sldMkLst>
      </pc:sldChg>
      <pc:sldChg chg="del">
        <pc:chgData name="Zhu Arena, GFTIOV, BCOM" userId="a49f412c-db83-45d3-9142-dc597ff7d65b" providerId="ADAL" clId="{4BB3F029-78C0-4927-843D-B6E7A927105C}" dt="2023-06-02T07:03:37.703" v="0" actId="47"/>
        <pc:sldMkLst>
          <pc:docMk/>
          <pc:sldMk cId="3668716143" sldId="2146846768"/>
        </pc:sldMkLst>
      </pc:sldChg>
      <pc:sldChg chg="del">
        <pc:chgData name="Zhu Arena, GFTIOV, BCOM" userId="a49f412c-db83-45d3-9142-dc597ff7d65b" providerId="ADAL" clId="{4BB3F029-78C0-4927-843D-B6E7A927105C}" dt="2023-06-02T07:03:37.703" v="0" actId="47"/>
        <pc:sldMkLst>
          <pc:docMk/>
          <pc:sldMk cId="1136496663" sldId="2146846769"/>
        </pc:sldMkLst>
      </pc:sldChg>
      <pc:sldChg chg="modSp mod">
        <pc:chgData name="Zhu Arena, GFTIOV, BCOM" userId="a49f412c-db83-45d3-9142-dc597ff7d65b" providerId="ADAL" clId="{4BB3F029-78C0-4927-843D-B6E7A927105C}" dt="2023-06-12T06:36:21.282" v="451" actId="1036"/>
        <pc:sldMkLst>
          <pc:docMk/>
          <pc:sldMk cId="954989905" sldId="2146847848"/>
        </pc:sldMkLst>
        <pc:spChg chg="mod">
          <ac:chgData name="Zhu Arena, GFTIOV, BCOM" userId="a49f412c-db83-45d3-9142-dc597ff7d65b" providerId="ADAL" clId="{4BB3F029-78C0-4927-843D-B6E7A927105C}" dt="2023-06-12T06:36:21.282" v="451" actId="1036"/>
          <ac:spMkLst>
            <pc:docMk/>
            <pc:sldMk cId="954989905" sldId="2146847848"/>
            <ac:spMk id="8" creationId="{F497C887-6187-770C-046C-8584B3D928D5}"/>
          </ac:spMkLst>
        </pc:spChg>
        <pc:spChg chg="mod">
          <ac:chgData name="Zhu Arena, GFTIOV, BCOM" userId="a49f412c-db83-45d3-9142-dc597ff7d65b" providerId="ADAL" clId="{4BB3F029-78C0-4927-843D-B6E7A927105C}" dt="2023-06-12T06:36:09.108" v="448" actId="1076"/>
          <ac:spMkLst>
            <pc:docMk/>
            <pc:sldMk cId="954989905" sldId="2146847848"/>
            <ac:spMk id="9" creationId="{BA8983DC-DC37-32BB-9BF7-4FF36B6702D3}"/>
          </ac:spMkLst>
        </pc:spChg>
        <pc:graphicFrameChg chg="mod modGraphic">
          <ac:chgData name="Zhu Arena, GFTIOV, BCOM" userId="a49f412c-db83-45d3-9142-dc597ff7d65b" providerId="ADAL" clId="{4BB3F029-78C0-4927-843D-B6E7A927105C}" dt="2023-06-12T06:36:02.749" v="447" actId="1035"/>
          <ac:graphicFrameMkLst>
            <pc:docMk/>
            <pc:sldMk cId="954989905" sldId="2146847848"/>
            <ac:graphicFrameMk id="2" creationId="{2ADA33E0-1AE7-4303-E3F0-7F71DBF71642}"/>
          </ac:graphicFrameMkLst>
        </pc:graphicFrameChg>
        <pc:picChg chg="mod">
          <ac:chgData name="Zhu Arena, GFTIOV, BCOM" userId="a49f412c-db83-45d3-9142-dc597ff7d65b" providerId="ADAL" clId="{4BB3F029-78C0-4927-843D-B6E7A927105C}" dt="2023-06-12T06:36:14.954" v="449" actId="14100"/>
          <ac:picMkLst>
            <pc:docMk/>
            <pc:sldMk cId="954989905" sldId="2146847848"/>
            <ac:picMk id="53252" creationId="{C56C9894-3EB6-4F21-AFA3-283FDFF4827E}"/>
          </ac:picMkLst>
        </pc:picChg>
      </pc:sldChg>
      <pc:sldChg chg="addSp delSp modSp mod">
        <pc:chgData name="Zhu Arena, GFTIOV, BCOM" userId="a49f412c-db83-45d3-9142-dc597ff7d65b" providerId="ADAL" clId="{4BB3F029-78C0-4927-843D-B6E7A927105C}" dt="2023-06-02T11:27:55.106" v="290" actId="478"/>
        <pc:sldMkLst>
          <pc:docMk/>
          <pc:sldMk cId="1925934639" sldId="2146847849"/>
        </pc:sldMkLst>
        <pc:spChg chg="add mod">
          <ac:chgData name="Zhu Arena, GFTIOV, BCOM" userId="a49f412c-db83-45d3-9142-dc597ff7d65b" providerId="ADAL" clId="{4BB3F029-78C0-4927-843D-B6E7A927105C}" dt="2023-06-02T07:56:22.334" v="289" actId="14100"/>
          <ac:spMkLst>
            <pc:docMk/>
            <pc:sldMk cId="1925934639" sldId="2146847849"/>
            <ac:spMk id="2" creationId="{4C4583B0-E52D-B65D-5FE6-4E2E2D6E7411}"/>
          </ac:spMkLst>
        </pc:spChg>
        <pc:spChg chg="del">
          <ac:chgData name="Zhu Arena, GFTIOV, BCOM" userId="a49f412c-db83-45d3-9142-dc597ff7d65b" providerId="ADAL" clId="{4BB3F029-78C0-4927-843D-B6E7A927105C}" dt="2023-06-02T11:27:55.106" v="290" actId="478"/>
          <ac:spMkLst>
            <pc:docMk/>
            <pc:sldMk cId="1925934639" sldId="2146847849"/>
            <ac:spMk id="20" creationId="{6986D4B8-A88C-A872-7927-1EBBF901B72B}"/>
          </ac:spMkLst>
        </pc:spChg>
        <pc:spChg chg="del">
          <ac:chgData name="Zhu Arena, GFTIOV, BCOM" userId="a49f412c-db83-45d3-9142-dc597ff7d65b" providerId="ADAL" clId="{4BB3F029-78C0-4927-843D-B6E7A927105C}" dt="2023-06-02T11:27:55.106" v="290" actId="478"/>
          <ac:spMkLst>
            <pc:docMk/>
            <pc:sldMk cId="1925934639" sldId="2146847849"/>
            <ac:spMk id="22" creationId="{90552FDD-A787-8CBD-033A-8977B3737827}"/>
          </ac:spMkLst>
        </pc:spChg>
        <pc:spChg chg="del">
          <ac:chgData name="Zhu Arena, GFTIOV, BCOM" userId="a49f412c-db83-45d3-9142-dc597ff7d65b" providerId="ADAL" clId="{4BB3F029-78C0-4927-843D-B6E7A927105C}" dt="2023-06-02T07:54:36.470" v="255" actId="478"/>
          <ac:spMkLst>
            <pc:docMk/>
            <pc:sldMk cId="1925934639" sldId="2146847849"/>
            <ac:spMk id="50" creationId="{6FB3D55F-E966-B063-0897-45048D44B2C8}"/>
          </ac:spMkLst>
        </pc:spChg>
        <pc:spChg chg="mod">
          <ac:chgData name="Zhu Arena, GFTIOV, BCOM" userId="a49f412c-db83-45d3-9142-dc597ff7d65b" providerId="ADAL" clId="{4BB3F029-78C0-4927-843D-B6E7A927105C}" dt="2023-06-02T07:54:20.394" v="251" actId="1076"/>
          <ac:spMkLst>
            <pc:docMk/>
            <pc:sldMk cId="1925934639" sldId="2146847849"/>
            <ac:spMk id="53" creationId="{81C8943E-AB4F-8057-EB85-FDBC631B1293}"/>
          </ac:spMkLst>
        </pc:spChg>
        <pc:spChg chg="mod">
          <ac:chgData name="Zhu Arena, GFTIOV, BCOM" userId="a49f412c-db83-45d3-9142-dc597ff7d65b" providerId="ADAL" clId="{4BB3F029-78C0-4927-843D-B6E7A927105C}" dt="2023-06-02T07:55:15.934" v="262" actId="1076"/>
          <ac:spMkLst>
            <pc:docMk/>
            <pc:sldMk cId="1925934639" sldId="2146847849"/>
            <ac:spMk id="54" creationId="{EFFA5014-D1E4-4536-2BFE-EFFE80ABFF5C}"/>
          </ac:spMkLst>
        </pc:spChg>
        <pc:spChg chg="mod">
          <ac:chgData name="Zhu Arena, GFTIOV, BCOM" userId="a49f412c-db83-45d3-9142-dc597ff7d65b" providerId="ADAL" clId="{4BB3F029-78C0-4927-843D-B6E7A927105C}" dt="2023-06-02T07:54:09.399" v="249" actId="1037"/>
          <ac:spMkLst>
            <pc:docMk/>
            <pc:sldMk cId="1925934639" sldId="2146847849"/>
            <ac:spMk id="56" creationId="{5FC5D4D3-47A7-A5D7-3E8E-2241C8BCC998}"/>
          </ac:spMkLst>
        </pc:spChg>
        <pc:spChg chg="mod">
          <ac:chgData name="Zhu Arena, GFTIOV, BCOM" userId="a49f412c-db83-45d3-9142-dc597ff7d65b" providerId="ADAL" clId="{4BB3F029-78C0-4927-843D-B6E7A927105C}" dt="2023-06-02T07:55:40.482" v="266" actId="14100"/>
          <ac:spMkLst>
            <pc:docMk/>
            <pc:sldMk cId="1925934639" sldId="2146847849"/>
            <ac:spMk id="57" creationId="{7DFAAB83-FDA5-7B7B-399A-5C8199D90125}"/>
          </ac:spMkLst>
        </pc:spChg>
        <pc:spChg chg="mod">
          <ac:chgData name="Zhu Arena, GFTIOV, BCOM" userId="a49f412c-db83-45d3-9142-dc597ff7d65b" providerId="ADAL" clId="{4BB3F029-78C0-4927-843D-B6E7A927105C}" dt="2023-06-02T07:55:35.545" v="265" actId="2085"/>
          <ac:spMkLst>
            <pc:docMk/>
            <pc:sldMk cId="1925934639" sldId="2146847849"/>
            <ac:spMk id="58" creationId="{210C55D7-0FD2-FA94-9B75-331D94EEBA3F}"/>
          </ac:spMkLst>
        </pc:spChg>
        <pc:spChg chg="mod">
          <ac:chgData name="Zhu Arena, GFTIOV, BCOM" userId="a49f412c-db83-45d3-9142-dc597ff7d65b" providerId="ADAL" clId="{4BB3F029-78C0-4927-843D-B6E7A927105C}" dt="2023-06-02T07:54:09.399" v="249" actId="1037"/>
          <ac:spMkLst>
            <pc:docMk/>
            <pc:sldMk cId="1925934639" sldId="2146847849"/>
            <ac:spMk id="59" creationId="{78EB8243-3B5E-C518-66F5-1F5EDEAD4999}"/>
          </ac:spMkLst>
        </pc:spChg>
        <pc:spChg chg="mod">
          <ac:chgData name="Zhu Arena, GFTIOV, BCOM" userId="a49f412c-db83-45d3-9142-dc597ff7d65b" providerId="ADAL" clId="{4BB3F029-78C0-4927-843D-B6E7A927105C}" dt="2023-06-02T07:54:53.596" v="260" actId="14100"/>
          <ac:spMkLst>
            <pc:docMk/>
            <pc:sldMk cId="1925934639" sldId="2146847849"/>
            <ac:spMk id="60" creationId="{F47A0C44-5062-F3FB-4A2C-18997613BE23}"/>
          </ac:spMkLst>
        </pc:spChg>
        <pc:spChg chg="mod">
          <ac:chgData name="Zhu Arena, GFTIOV, BCOM" userId="a49f412c-db83-45d3-9142-dc597ff7d65b" providerId="ADAL" clId="{4BB3F029-78C0-4927-843D-B6E7A927105C}" dt="2023-06-02T07:54:41.675" v="257" actId="1076"/>
          <ac:spMkLst>
            <pc:docMk/>
            <pc:sldMk cId="1925934639" sldId="2146847849"/>
            <ac:spMk id="75" creationId="{11821E30-4CFF-4B96-8906-817C7E0B3B34}"/>
          </ac:spMkLst>
        </pc:spChg>
        <pc:spChg chg="mod">
          <ac:chgData name="Zhu Arena, GFTIOV, BCOM" userId="a49f412c-db83-45d3-9142-dc597ff7d65b" providerId="ADAL" clId="{4BB3F029-78C0-4927-843D-B6E7A927105C}" dt="2023-06-02T07:54:09.399" v="249" actId="1037"/>
          <ac:spMkLst>
            <pc:docMk/>
            <pc:sldMk cId="1925934639" sldId="2146847849"/>
            <ac:spMk id="76" creationId="{1F80684A-E158-B885-0BFF-B45390361E86}"/>
          </ac:spMkLst>
        </pc:spChg>
        <pc:picChg chg="mod">
          <ac:chgData name="Zhu Arena, GFTIOV, BCOM" userId="a49f412c-db83-45d3-9142-dc597ff7d65b" providerId="ADAL" clId="{4BB3F029-78C0-4927-843D-B6E7A927105C}" dt="2023-06-02T07:53:09.405" v="227" actId="1076"/>
          <ac:picMkLst>
            <pc:docMk/>
            <pc:sldMk cId="1925934639" sldId="2146847849"/>
            <ac:picMk id="79" creationId="{D4C17B4E-ECED-049F-DDFF-F6E54F53BA75}"/>
          </ac:picMkLst>
        </pc:picChg>
      </pc:sldChg>
      <pc:sldChg chg="addSp delSp modSp mod">
        <pc:chgData name="Zhu Arena, GFTIOV, BCOM" userId="a49f412c-db83-45d3-9142-dc597ff7d65b" providerId="ADAL" clId="{4BB3F029-78C0-4927-843D-B6E7A927105C}" dt="2023-06-02T07:49:24.233" v="125" actId="1076"/>
        <pc:sldMkLst>
          <pc:docMk/>
          <pc:sldMk cId="1490636253" sldId="2146847854"/>
        </pc:sldMkLst>
        <pc:spChg chg="mod">
          <ac:chgData name="Zhu Arena, GFTIOV, BCOM" userId="a49f412c-db83-45d3-9142-dc597ff7d65b" providerId="ADAL" clId="{4BB3F029-78C0-4927-843D-B6E7A927105C}" dt="2023-06-02T07:49:24.233" v="125" actId="1076"/>
          <ac:spMkLst>
            <pc:docMk/>
            <pc:sldMk cId="1490636253" sldId="2146847854"/>
            <ac:spMk id="5" creationId="{355DDEE8-1A46-3336-0CD9-1C1CA30FA82E}"/>
          </ac:spMkLst>
        </pc:spChg>
        <pc:spChg chg="mod">
          <ac:chgData name="Zhu Arena, GFTIOV, BCOM" userId="a49f412c-db83-45d3-9142-dc597ff7d65b" providerId="ADAL" clId="{4BB3F029-78C0-4927-843D-B6E7A927105C}" dt="2023-06-02T07:46:29.887" v="101" actId="1076"/>
          <ac:spMkLst>
            <pc:docMk/>
            <pc:sldMk cId="1490636253" sldId="2146847854"/>
            <ac:spMk id="8" creationId="{E04C9AED-3387-410E-1D77-2531CFA2B61B}"/>
          </ac:spMkLst>
        </pc:spChg>
        <pc:spChg chg="del mod">
          <ac:chgData name="Zhu Arena, GFTIOV, BCOM" userId="a49f412c-db83-45d3-9142-dc597ff7d65b" providerId="ADAL" clId="{4BB3F029-78C0-4927-843D-B6E7A927105C}" dt="2023-06-02T07:45:42.948" v="91" actId="478"/>
          <ac:spMkLst>
            <pc:docMk/>
            <pc:sldMk cId="1490636253" sldId="2146847854"/>
            <ac:spMk id="11" creationId="{B75AC93A-0818-A055-E554-DC1A4C09D003}"/>
          </ac:spMkLst>
        </pc:spChg>
        <pc:spChg chg="mod">
          <ac:chgData name="Zhu Arena, GFTIOV, BCOM" userId="a49f412c-db83-45d3-9142-dc597ff7d65b" providerId="ADAL" clId="{4BB3F029-78C0-4927-843D-B6E7A927105C}" dt="2023-06-02T07:45:23.777" v="89"/>
          <ac:spMkLst>
            <pc:docMk/>
            <pc:sldMk cId="1490636253" sldId="2146847854"/>
            <ac:spMk id="13" creationId="{CC724A64-E33B-C856-551F-F57EA1D0A70E}"/>
          </ac:spMkLst>
        </pc:spChg>
        <pc:spChg chg="mod">
          <ac:chgData name="Zhu Arena, GFTIOV, BCOM" userId="a49f412c-db83-45d3-9142-dc597ff7d65b" providerId="ADAL" clId="{4BB3F029-78C0-4927-843D-B6E7A927105C}" dt="2023-06-02T07:46:34.701" v="102" actId="1076"/>
          <ac:spMkLst>
            <pc:docMk/>
            <pc:sldMk cId="1490636253" sldId="2146847854"/>
            <ac:spMk id="15" creationId="{DEFD7829-03D9-B331-DD29-C4C499F82DC4}"/>
          </ac:spMkLst>
        </pc:spChg>
        <pc:spChg chg="mod">
          <ac:chgData name="Zhu Arena, GFTIOV, BCOM" userId="a49f412c-db83-45d3-9142-dc597ff7d65b" providerId="ADAL" clId="{4BB3F029-78C0-4927-843D-B6E7A927105C}" dt="2023-06-02T07:45:23.777" v="89"/>
          <ac:spMkLst>
            <pc:docMk/>
            <pc:sldMk cId="1490636253" sldId="2146847854"/>
            <ac:spMk id="17" creationId="{6A6414DF-B30B-0505-AFA3-7847A01AFA34}"/>
          </ac:spMkLst>
        </pc:spChg>
        <pc:spChg chg="mod">
          <ac:chgData name="Zhu Arena, GFTIOV, BCOM" userId="a49f412c-db83-45d3-9142-dc597ff7d65b" providerId="ADAL" clId="{4BB3F029-78C0-4927-843D-B6E7A927105C}" dt="2023-06-02T07:47:04.922" v="108" actId="20577"/>
          <ac:spMkLst>
            <pc:docMk/>
            <pc:sldMk cId="1490636253" sldId="2146847854"/>
            <ac:spMk id="18" creationId="{3FED3AB3-100E-FBE9-A4B1-2687F6470D24}"/>
          </ac:spMkLst>
        </pc:spChg>
        <pc:grpChg chg="add del mod">
          <ac:chgData name="Zhu Arena, GFTIOV, BCOM" userId="a49f412c-db83-45d3-9142-dc597ff7d65b" providerId="ADAL" clId="{4BB3F029-78C0-4927-843D-B6E7A927105C}" dt="2023-06-02T07:49:17.503" v="124" actId="478"/>
          <ac:grpSpMkLst>
            <pc:docMk/>
            <pc:sldMk cId="1490636253" sldId="2146847854"/>
            <ac:grpSpMk id="6" creationId="{F1175925-1D60-B2EF-E82D-56776333ECB9}"/>
          </ac:grpSpMkLst>
        </pc:grpChg>
        <pc:grpChg chg="mod">
          <ac:chgData name="Zhu Arena, GFTIOV, BCOM" userId="a49f412c-db83-45d3-9142-dc597ff7d65b" providerId="ADAL" clId="{4BB3F029-78C0-4927-843D-B6E7A927105C}" dt="2023-06-02T07:45:23.777" v="89"/>
          <ac:grpSpMkLst>
            <pc:docMk/>
            <pc:sldMk cId="1490636253" sldId="2146847854"/>
            <ac:grpSpMk id="7" creationId="{B629AA42-F2FA-5360-D401-E8B431F02807}"/>
          </ac:grpSpMkLst>
        </pc:grpChg>
        <pc:grpChg chg="mod">
          <ac:chgData name="Zhu Arena, GFTIOV, BCOM" userId="a49f412c-db83-45d3-9142-dc597ff7d65b" providerId="ADAL" clId="{4BB3F029-78C0-4927-843D-B6E7A927105C}" dt="2023-06-02T07:45:23.777" v="89"/>
          <ac:grpSpMkLst>
            <pc:docMk/>
            <pc:sldMk cId="1490636253" sldId="2146847854"/>
            <ac:grpSpMk id="9" creationId="{2B0E9F45-CF60-6567-A6F1-6AF7737C7D10}"/>
          </ac:grpSpMkLst>
        </pc:grpChg>
        <pc:picChg chg="mod">
          <ac:chgData name="Zhu Arena, GFTIOV, BCOM" userId="a49f412c-db83-45d3-9142-dc597ff7d65b" providerId="ADAL" clId="{4BB3F029-78C0-4927-843D-B6E7A927105C}" dt="2023-06-02T07:49:09.678" v="123" actId="1076"/>
          <ac:picMkLst>
            <pc:docMk/>
            <pc:sldMk cId="1490636253" sldId="2146847854"/>
            <ac:picMk id="10" creationId="{EFA37DA1-8381-1083-A7F9-BAE04B19317F}"/>
          </ac:picMkLst>
        </pc:picChg>
        <pc:picChg chg="mod">
          <ac:chgData name="Zhu Arena, GFTIOV, BCOM" userId="a49f412c-db83-45d3-9142-dc597ff7d65b" providerId="ADAL" clId="{4BB3F029-78C0-4927-843D-B6E7A927105C}" dt="2023-06-02T07:47:51.248" v="114" actId="1076"/>
          <ac:picMkLst>
            <pc:docMk/>
            <pc:sldMk cId="1490636253" sldId="2146847854"/>
            <ac:picMk id="12" creationId="{CCA6D6B2-553E-AB1F-1A88-510F6F531C1F}"/>
          </ac:picMkLst>
        </pc:picChg>
        <pc:picChg chg="mod">
          <ac:chgData name="Zhu Arena, GFTIOV, BCOM" userId="a49f412c-db83-45d3-9142-dc597ff7d65b" providerId="ADAL" clId="{4BB3F029-78C0-4927-843D-B6E7A927105C}" dt="2023-06-02T07:48:57.791" v="121" actId="1076"/>
          <ac:picMkLst>
            <pc:docMk/>
            <pc:sldMk cId="1490636253" sldId="2146847854"/>
            <ac:picMk id="14" creationId="{76C594A7-3BA7-767F-D091-C72955BFF9F4}"/>
          </ac:picMkLst>
        </pc:picChg>
        <pc:picChg chg="mod">
          <ac:chgData name="Zhu Arena, GFTIOV, BCOM" userId="a49f412c-db83-45d3-9142-dc597ff7d65b" providerId="ADAL" clId="{4BB3F029-78C0-4927-843D-B6E7A927105C}" dt="2023-06-02T07:49:01.720" v="122" actId="1076"/>
          <ac:picMkLst>
            <pc:docMk/>
            <pc:sldMk cId="1490636253" sldId="2146847854"/>
            <ac:picMk id="16" creationId="{9CD81C3B-5870-2FF5-388A-7F209963BD5B}"/>
          </ac:picMkLst>
        </pc:picChg>
        <pc:picChg chg="mod">
          <ac:chgData name="Zhu Arena, GFTIOV, BCOM" userId="a49f412c-db83-45d3-9142-dc597ff7d65b" providerId="ADAL" clId="{4BB3F029-78C0-4927-843D-B6E7A927105C}" dt="2023-06-02T07:48:50.940" v="120" actId="1076"/>
          <ac:picMkLst>
            <pc:docMk/>
            <pc:sldMk cId="1490636253" sldId="2146847854"/>
            <ac:picMk id="19" creationId="{A23F6BD6-EC64-4789-20F2-8A6BBD8701D0}"/>
          </ac:picMkLst>
        </pc:picChg>
      </pc:sldChg>
    </pc:docChg>
  </pc:docChgLst>
  <pc:docChgLst>
    <pc:chgData name="Chen Lucy, GFTIOV, BCOM" userId="015eeb7a-1a87-4ec1-9e0c-2a98ac5d916e" providerId="ADAL" clId="{E51E5F03-11D2-48DE-82EF-126E2606349B}"/>
    <pc:docChg chg="addSld modSld sldOrd">
      <pc:chgData name="Chen Lucy, GFTIOV, BCOM" userId="015eeb7a-1a87-4ec1-9e0c-2a98ac5d916e" providerId="ADAL" clId="{E51E5F03-11D2-48DE-82EF-126E2606349B}" dt="2023-06-13T12:00:14.978" v="3"/>
      <pc:docMkLst>
        <pc:docMk/>
      </pc:docMkLst>
      <pc:sldChg chg="add ord modNotes">
        <pc:chgData name="Chen Lucy, GFTIOV, BCOM" userId="015eeb7a-1a87-4ec1-9e0c-2a98ac5d916e" providerId="ADAL" clId="{E51E5F03-11D2-48DE-82EF-126E2606349B}" dt="2023-06-13T12:00:14.978" v="3"/>
        <pc:sldMkLst>
          <pc:docMk/>
          <pc:sldMk cId="0" sldId="16764338"/>
        </pc:sldMkLst>
      </pc:sldChg>
    </pc:docChg>
  </pc:docChgLst>
</pc:chgInfo>
</file>

<file path=ppt/handoutMasters/_rels/handout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quarter" idx="1"/>
          </p:nvPr>
        </p:nvSpPr>
        <p:spPr>
          <a:xfrm>
            <a:off x="482512" y="9212584"/>
            <a:ext cx="1152000" cy="288000"/>
          </a:xfrm>
          <a:prstGeom prst="rect">
            <a:avLst/>
          </a:prstGeom>
        </p:spPr>
        <p:txBody>
          <a:bodyPr vert="horz" lIns="0" tIns="0" rIns="0" bIns="0" rtlCol="0" anchor="ctr"/>
          <a:lstStyle>
            <a:lvl1pPr algn="r">
              <a:defRPr sz="1200"/>
            </a:lvl1pPr>
          </a:lstStyle>
          <a:p>
            <a:pPr algn="l"/>
            <a:fld id="{B0D8C397-41BC-416F-8E46-E03910EB6FEF}" type="datetimeFigureOut">
              <a:rPr lang="de-DE" sz="1000" smtClean="0">
                <a:cs typeface="Arial" panose="020B0604020202020204" pitchFamily="34" charset="0"/>
              </a:rPr>
              <a:pPr algn="l"/>
              <a:t>16.06.2023</a:t>
            </a:fld>
            <a:endParaRPr lang="de-DE" sz="1000">
              <a:cs typeface="Arial" panose="020B0604020202020204" pitchFamily="34" charset="0"/>
            </a:endParaRPr>
          </a:p>
        </p:txBody>
      </p:sp>
      <p:sp>
        <p:nvSpPr>
          <p:cNvPr id="4" name="Fußzeilenplatzhalter 3"/>
          <p:cNvSpPr>
            <a:spLocks noGrp="1"/>
          </p:cNvSpPr>
          <p:nvPr>
            <p:ph type="ftr" sz="quarter" idx="2"/>
          </p:nvPr>
        </p:nvSpPr>
        <p:spPr>
          <a:xfrm>
            <a:off x="2066689" y="9212584"/>
            <a:ext cx="3744000" cy="288000"/>
          </a:xfrm>
          <a:prstGeom prst="rect">
            <a:avLst/>
          </a:prstGeom>
        </p:spPr>
        <p:txBody>
          <a:bodyPr vert="horz" lIns="0" tIns="0" rIns="0" bIns="0" rtlCol="0" anchor="ctr"/>
          <a:lstStyle>
            <a:lvl1pPr algn="l">
              <a:defRPr sz="1200"/>
            </a:lvl1pPr>
          </a:lstStyle>
          <a:p>
            <a:endParaRPr lang="de-DE" sz="1000">
              <a:cs typeface="Arial" panose="020B0604020202020204" pitchFamily="34" charset="0"/>
            </a:endParaRPr>
          </a:p>
        </p:txBody>
      </p:sp>
      <p:sp>
        <p:nvSpPr>
          <p:cNvPr id="5" name="Foliennummernplatzhalter 4"/>
          <p:cNvSpPr>
            <a:spLocks noGrp="1"/>
          </p:cNvSpPr>
          <p:nvPr>
            <p:ph type="sldNum" sz="quarter" idx="3"/>
          </p:nvPr>
        </p:nvSpPr>
        <p:spPr>
          <a:xfrm>
            <a:off x="5883161" y="9212584"/>
            <a:ext cx="432000" cy="288000"/>
          </a:xfrm>
          <a:prstGeom prst="rect">
            <a:avLst/>
          </a:prstGeom>
        </p:spPr>
        <p:txBody>
          <a:bodyPr vert="horz" lIns="0" tIns="0" rIns="0" bIns="0" rtlCol="0" anchor="ctr"/>
          <a:lstStyle>
            <a:lvl1pPr algn="r">
              <a:defRPr sz="1200"/>
            </a:lvl1pPr>
          </a:lstStyle>
          <a:p>
            <a:fld id="{F479C6E1-E50F-453B-8C59-65DCED9444A9}" type="slidenum">
              <a:rPr lang="de-DE" sz="1000" smtClean="0">
                <a:cs typeface="Arial" panose="020B0604020202020204" pitchFamily="34" charset="0"/>
              </a:rPr>
              <a:t>‹#›</a:t>
            </a:fld>
            <a:endParaRPr lang="de-DE" sz="1000">
              <a:cs typeface="Arial" panose="020B0604020202020204" pitchFamily="34" charset="0"/>
            </a:endParaRPr>
          </a:p>
        </p:txBody>
      </p:sp>
      <p:pic>
        <p:nvPicPr>
          <p:cNvPr id="6" name="Grafik 64">
            <a:extLst>
              <a:ext uri="{FF2B5EF4-FFF2-40B4-BE49-F238E27FC236}">
                <a16:creationId xmlns:a16="http://schemas.microsoft.com/office/drawing/2014/main" id="{6160687F-9C6E-4EC5-814D-41ECD54B24B6}"/>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518026" y="499616"/>
            <a:ext cx="932160" cy="381473"/>
          </a:xfrm>
          <a:prstGeom prst="rect">
            <a:avLst/>
          </a:prstGeom>
        </p:spPr>
      </p:pic>
    </p:spTree>
    <p:extLst>
      <p:ext uri="{BB962C8B-B14F-4D97-AF65-F5344CB8AC3E}">
        <p14:creationId xmlns:p14="http://schemas.microsoft.com/office/powerpoint/2010/main" val="1102679117"/>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822" userDrawn="1">
          <p15:clr>
            <a:srgbClr val="F26B43"/>
          </p15:clr>
        </p15:guide>
        <p15:guide id="2" pos="303" userDrawn="1">
          <p15:clr>
            <a:srgbClr val="F26B43"/>
          </p15:clr>
        </p15:guide>
        <p15:guide id="3" pos="3977"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336550" y="9212616"/>
            <a:ext cx="1298091" cy="288000"/>
          </a:xfrm>
          <a:prstGeom prst="rect">
            <a:avLst/>
          </a:prstGeom>
        </p:spPr>
        <p:txBody>
          <a:bodyPr vert="horz" lIns="0" tIns="0" rIns="0" bIns="0" rtlCol="0" anchor="ctr"/>
          <a:lstStyle>
            <a:lvl1pPr algn="l">
              <a:defRPr sz="1000">
                <a:solidFill>
                  <a:schemeClr val="tx2"/>
                </a:solidFill>
              </a:defRPr>
            </a:lvl1pPr>
          </a:lstStyle>
          <a:p>
            <a:fld id="{CC237FA7-93E2-4936-AB09-44D8B0D6148D}" type="datetimeFigureOut">
              <a:rPr lang="de-DE" smtClean="0"/>
              <a:pPr/>
              <a:t>16.06.2023</a:t>
            </a:fld>
            <a:endParaRPr lang="de-DE"/>
          </a:p>
        </p:txBody>
      </p:sp>
      <p:sp>
        <p:nvSpPr>
          <p:cNvPr id="4" name="Folienbildplatzhalter 3"/>
          <p:cNvSpPr>
            <a:spLocks noGrp="1" noRot="1" noChangeAspect="1"/>
          </p:cNvSpPr>
          <p:nvPr>
            <p:ph type="sldImg" idx="2"/>
          </p:nvPr>
        </p:nvSpPr>
        <p:spPr>
          <a:xfrm>
            <a:off x="336550" y="823652"/>
            <a:ext cx="6121400" cy="3443013"/>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36550" y="4496060"/>
            <a:ext cx="6121400" cy="4572508"/>
          </a:xfrm>
          <a:prstGeom prst="rect">
            <a:avLst/>
          </a:prstGeom>
        </p:spPr>
        <p:txBody>
          <a:bodyPr vert="horz" lIns="0" tIns="0" rIns="0" bIns="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066689" y="9212616"/>
            <a:ext cx="3744416" cy="288000"/>
          </a:xfrm>
          <a:prstGeom prst="rect">
            <a:avLst/>
          </a:prstGeom>
        </p:spPr>
        <p:txBody>
          <a:bodyPr vert="horz" lIns="0" tIns="0" rIns="0" bIns="0" rtlCol="0" anchor="ctr"/>
          <a:lstStyle>
            <a:lvl1pPr algn="l">
              <a:defRPr sz="1000">
                <a:solidFill>
                  <a:schemeClr val="tx2"/>
                </a:solidFill>
              </a:defRPr>
            </a:lvl1pPr>
          </a:lstStyle>
          <a:p>
            <a:endParaRPr lang="de-DE"/>
          </a:p>
        </p:txBody>
      </p:sp>
      <p:sp>
        <p:nvSpPr>
          <p:cNvPr id="7" name="Foliennummernplatzhalter 6"/>
          <p:cNvSpPr>
            <a:spLocks noGrp="1"/>
          </p:cNvSpPr>
          <p:nvPr>
            <p:ph type="sldNum" sz="quarter" idx="5"/>
          </p:nvPr>
        </p:nvSpPr>
        <p:spPr>
          <a:xfrm>
            <a:off x="5883113" y="9212616"/>
            <a:ext cx="574837" cy="288000"/>
          </a:xfrm>
          <a:prstGeom prst="rect">
            <a:avLst/>
          </a:prstGeom>
        </p:spPr>
        <p:txBody>
          <a:bodyPr vert="horz" lIns="0" tIns="0" rIns="0" bIns="0" rtlCol="0" anchor="ctr"/>
          <a:lstStyle>
            <a:lvl1pPr algn="r">
              <a:defRPr sz="1000">
                <a:solidFill>
                  <a:schemeClr val="tx2"/>
                </a:solidFill>
              </a:defRPr>
            </a:lvl1pPr>
          </a:lstStyle>
          <a:p>
            <a:fld id="{82E889FF-B10F-40D6-B1BC-76B1A15B01CC}" type="slidenum">
              <a:rPr lang="de-DE" smtClean="0"/>
              <a:pPr/>
              <a:t>‹#›</a:t>
            </a:fld>
            <a:endParaRPr lang="de-DE"/>
          </a:p>
        </p:txBody>
      </p:sp>
      <p:pic>
        <p:nvPicPr>
          <p:cNvPr id="15" name="Grafik 64">
            <a:extLst>
              <a:ext uri="{FF2B5EF4-FFF2-40B4-BE49-F238E27FC236}">
                <a16:creationId xmlns:a16="http://schemas.microsoft.com/office/drawing/2014/main" id="{4DC4114E-566B-457F-BA7D-FFEED89353C8}"/>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658841" y="247588"/>
            <a:ext cx="932160" cy="381473"/>
          </a:xfrm>
          <a:prstGeom prst="rect">
            <a:avLst/>
          </a:prstGeom>
        </p:spPr>
      </p:pic>
    </p:spTree>
    <p:extLst>
      <p:ext uri="{BB962C8B-B14F-4D97-AF65-F5344CB8AC3E}">
        <p14:creationId xmlns:p14="http://schemas.microsoft.com/office/powerpoint/2010/main" val="1179237707"/>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0"/>
      </a:spcBef>
      <a:spcAft>
        <a:spcPts val="600"/>
      </a:spcAft>
      <a:defRPr lang="de-DE" sz="1200" kern="1200" dirty="0" smtClean="0">
        <a:solidFill>
          <a:schemeClr val="bg2"/>
        </a:solidFill>
        <a:latin typeface="+mn-lt"/>
        <a:ea typeface="+mn-ea"/>
        <a:cs typeface="Arial" panose="020B0604020202020204" pitchFamily="34" charset="0"/>
      </a:defRPr>
    </a:lvl1pPr>
    <a:lvl2pPr marL="0" indent="0" algn="l" defTabSz="914400" rtl="0" eaLnBrk="1" latinLnBrk="0" hangingPunct="1">
      <a:spcBef>
        <a:spcPts val="0"/>
      </a:spcBef>
      <a:spcAft>
        <a:spcPts val="600"/>
      </a:spcAft>
      <a:buClr>
        <a:schemeClr val="bg2"/>
      </a:buClr>
      <a:buFont typeface="Arial" panose="020B0604020202020204" pitchFamily="34" charset="0"/>
      <a:buNone/>
      <a:defRPr lang="de-DE" sz="1200" kern="1200" dirty="0" smtClean="0">
        <a:solidFill>
          <a:schemeClr val="tx2"/>
        </a:solidFill>
        <a:latin typeface="+mn-lt"/>
        <a:ea typeface="+mn-ea"/>
        <a:cs typeface="Arial" panose="020B0604020202020204" pitchFamily="34" charset="0"/>
      </a:defRPr>
    </a:lvl2pPr>
    <a:lvl3pPr marL="180975" indent="-180975" algn="l" defTabSz="914400" rtl="0" eaLnBrk="1" latinLnBrk="0" hangingPunct="1">
      <a:spcBef>
        <a:spcPts val="0"/>
      </a:spcBef>
      <a:spcAft>
        <a:spcPts val="300"/>
      </a:spcAft>
      <a:buClr>
        <a:schemeClr val="bg2"/>
      </a:buClr>
      <a:buFont typeface="Arial" panose="020B0604020202020204" pitchFamily="34" charset="0"/>
      <a:buChar char="•"/>
      <a:defRPr lang="de-DE" sz="1200" kern="1200" dirty="0" smtClean="0">
        <a:solidFill>
          <a:schemeClr val="tx2"/>
        </a:solidFill>
        <a:latin typeface="+mn-lt"/>
        <a:ea typeface="+mn-ea"/>
        <a:cs typeface="Arial" panose="020B0604020202020204" pitchFamily="34" charset="0"/>
      </a:defRPr>
    </a:lvl3pPr>
    <a:lvl4pPr marL="358775" indent="-177800" algn="l" defTabSz="914400" rtl="0" eaLnBrk="1" latinLnBrk="0" hangingPunct="1">
      <a:spcBef>
        <a:spcPts val="0"/>
      </a:spcBef>
      <a:spcAft>
        <a:spcPts val="300"/>
      </a:spcAft>
      <a:buClr>
        <a:schemeClr val="tx2"/>
      </a:buClr>
      <a:buFont typeface="Arial Nova Light" panose="020B0304020202020204" pitchFamily="34" charset="0"/>
      <a:buChar char="–"/>
      <a:defRPr lang="de-DE" sz="1200" kern="1200" dirty="0" smtClean="0">
        <a:solidFill>
          <a:schemeClr val="tx2"/>
        </a:solidFill>
        <a:latin typeface="+mn-lt"/>
        <a:ea typeface="+mn-ea"/>
        <a:cs typeface="Arial" panose="020B0604020202020204" pitchFamily="34" charset="0"/>
      </a:defRPr>
    </a:lvl4pPr>
    <a:lvl5pPr marL="538163" indent="-180975" algn="l" defTabSz="914400" rtl="0" eaLnBrk="1" latinLnBrk="0" hangingPunct="1">
      <a:spcBef>
        <a:spcPts val="0"/>
      </a:spcBef>
      <a:spcAft>
        <a:spcPts val="300"/>
      </a:spcAft>
      <a:buClr>
        <a:schemeClr val="tx2"/>
      </a:buClr>
      <a:buFont typeface="Arial Nova Light" panose="020B0304020202020204" pitchFamily="34" charset="0"/>
      <a:buChar char="–"/>
      <a:defRPr lang="de-DE" sz="1200" kern="1200" dirty="0">
        <a:solidFill>
          <a:schemeClr val="tx2"/>
        </a:solidFill>
        <a:latin typeface="+mn-lt"/>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2" pos="4068" userDrawn="1">
          <p15:clr>
            <a:srgbClr val="F26B43"/>
          </p15:clr>
        </p15:guide>
        <p15:guide id="3" pos="21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6550" y="823913"/>
            <a:ext cx="6121400" cy="3443287"/>
          </a:xfrm>
        </p:spPr>
      </p:sp>
      <p:sp>
        <p:nvSpPr>
          <p:cNvPr id="3" name="Notizenplatzhalter 2"/>
          <p:cNvSpPr>
            <a:spLocks noGrp="1"/>
          </p:cNvSpPr>
          <p:nvPr>
            <p:ph type="body" idx="1"/>
          </p:nvPr>
        </p:nvSpPr>
        <p:spPr/>
        <p:txBody>
          <a:bodyPr/>
          <a:lstStyle/>
          <a:p>
            <a:pPr marL="186592" lvl="1" indent="0">
              <a:buNone/>
            </a:pPr>
            <a:endParaRPr lang="de-CH"/>
          </a:p>
        </p:txBody>
      </p:sp>
      <p:sp>
        <p:nvSpPr>
          <p:cNvPr id="4" name="Foliennummernplatzhalter 3"/>
          <p:cNvSpPr>
            <a:spLocks noGrp="1"/>
          </p:cNvSpPr>
          <p:nvPr>
            <p:ph type="sldNum" sz="quarter" idx="10"/>
          </p:nvPr>
        </p:nvSpPr>
        <p:spPr/>
        <p:txBody>
          <a:bodyPr/>
          <a:lstStyle/>
          <a:p>
            <a:fld id="{82E889FF-B10F-40D6-B1BC-76B1A15B01CC}" type="slidenum">
              <a:rPr lang="de-DE" smtClean="0"/>
              <a:pPr/>
              <a:t>2</a:t>
            </a:fld>
            <a:endParaRPr lang="de-DE"/>
          </a:p>
        </p:txBody>
      </p:sp>
      <p:sp>
        <p:nvSpPr>
          <p:cNvPr id="5" name="Date Placeholder 4"/>
          <p:cNvSpPr>
            <a:spLocks noGrp="1"/>
          </p:cNvSpPr>
          <p:nvPr>
            <p:ph type="dt" idx="11"/>
          </p:nvPr>
        </p:nvSpPr>
        <p:spPr/>
        <p:txBody>
          <a:bodyPr/>
          <a:lstStyle/>
          <a:p>
            <a:r>
              <a:rPr lang="de-DE"/>
              <a:t>07.02.2019</a:t>
            </a:r>
          </a:p>
        </p:txBody>
      </p:sp>
    </p:spTree>
    <p:extLst>
      <p:ext uri="{BB962C8B-B14F-4D97-AF65-F5344CB8AC3E}">
        <p14:creationId xmlns:p14="http://schemas.microsoft.com/office/powerpoint/2010/main" val="3835112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36550" y="823913"/>
            <a:ext cx="6121400" cy="3443287"/>
          </a:xfrm>
        </p:spPr>
      </p:sp>
      <p:sp>
        <p:nvSpPr>
          <p:cNvPr id="3" name="备注占位符 2"/>
          <p:cNvSpPr>
            <a:spLocks noGrp="1"/>
          </p:cNvSpPr>
          <p:nvPr>
            <p:ph type="body" idx="1"/>
          </p:nvPr>
        </p:nvSpPr>
        <p:spPr/>
        <p:txBody>
          <a:bodyPr/>
          <a:lstStyle/>
          <a:p>
            <a:r>
              <a:rPr lang="en-US" altLang="zh-CN" dirty="0"/>
              <a:t>Where what, </a:t>
            </a:r>
          </a:p>
          <a:p>
            <a:r>
              <a:rPr lang="en-US" altLang="zh-CN" dirty="0"/>
              <a:t>With economical benefit </a:t>
            </a:r>
          </a:p>
          <a:p>
            <a:r>
              <a:rPr lang="en-US" altLang="zh-CN" dirty="0"/>
              <a:t>upcycling</a:t>
            </a:r>
          </a:p>
          <a:p>
            <a:endParaRPr lang="en-US" dirty="0"/>
          </a:p>
          <a:p>
            <a:endParaRPr lang="en-US" dirty="0"/>
          </a:p>
          <a:p>
            <a:r>
              <a:rPr lang="en-US" dirty="0"/>
              <a:t>Rice Flour Dry Milling Solution</a:t>
            </a:r>
            <a:br>
              <a:rPr lang="en-US" dirty="0"/>
            </a:br>
            <a:br>
              <a:rPr lang="en-US" dirty="0"/>
            </a:br>
            <a:r>
              <a:rPr lang="en-US" dirty="0"/>
              <a:t>A sustainable and nutritious solution to grind Rice for downstream applications </a:t>
            </a:r>
          </a:p>
        </p:txBody>
      </p:sp>
      <p:sp>
        <p:nvSpPr>
          <p:cNvPr id="4" name="灯片编号占位符 3"/>
          <p:cNvSpPr>
            <a:spLocks noGrp="1"/>
          </p:cNvSpPr>
          <p:nvPr>
            <p:ph type="sldNum" sz="quarter" idx="5"/>
          </p:nvPr>
        </p:nvSpPr>
        <p:spPr/>
        <p:txBody>
          <a:bodyPr/>
          <a:lstStyle/>
          <a:p>
            <a:fld id="{82E889FF-B10F-40D6-B1BC-76B1A15B01CC}" type="slidenum">
              <a:rPr lang="de-DE" smtClean="0"/>
              <a:pPr/>
              <a:t>4</a:t>
            </a:fld>
            <a:endParaRPr lang="de-DE"/>
          </a:p>
        </p:txBody>
      </p:sp>
    </p:spTree>
    <p:extLst>
      <p:ext uri="{BB962C8B-B14F-4D97-AF65-F5344CB8AC3E}">
        <p14:creationId xmlns:p14="http://schemas.microsoft.com/office/powerpoint/2010/main" val="368849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36550" y="823913"/>
            <a:ext cx="6121400" cy="3443287"/>
          </a:xfrm>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82E889FF-B10F-40D6-B1BC-76B1A15B01CC}" type="slidenum">
              <a:rPr lang="de-DE" smtClean="0"/>
              <a:pPr/>
              <a:t>5</a:t>
            </a:fld>
            <a:endParaRPr lang="de-DE"/>
          </a:p>
        </p:txBody>
      </p:sp>
    </p:spTree>
    <p:extLst>
      <p:ext uri="{BB962C8B-B14F-4D97-AF65-F5344CB8AC3E}">
        <p14:creationId xmlns:p14="http://schemas.microsoft.com/office/powerpoint/2010/main" val="12879277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36550" y="823913"/>
            <a:ext cx="6121400" cy="3443287"/>
          </a:xfrm>
        </p:spPr>
      </p:sp>
      <p:sp>
        <p:nvSpPr>
          <p:cNvPr id="3" name="备注占位符 2"/>
          <p:cNvSpPr>
            <a:spLocks noGrp="1"/>
          </p:cNvSpPr>
          <p:nvPr>
            <p:ph type="body" idx="1"/>
          </p:nvPr>
        </p:nvSpPr>
        <p:spPr/>
        <p:txBody>
          <a:bodyPr/>
          <a:lstStyle/>
          <a:p>
            <a:r>
              <a:rPr lang="en-US" altLang="zh-CN" dirty="0"/>
              <a:t>Dry rice</a:t>
            </a:r>
            <a:r>
              <a:rPr lang="zh-CN" altLang="en-US" dirty="0"/>
              <a:t> </a:t>
            </a:r>
            <a:r>
              <a:rPr lang="en-US" altLang="zh-CN" dirty="0"/>
              <a:t>flour solution will bring </a:t>
            </a:r>
            <a:r>
              <a:rPr lang="en-US" altLang="zh-CN" dirty="0" err="1"/>
              <a:t>ecomincal</a:t>
            </a:r>
            <a:r>
              <a:rPr lang="en-US" altLang="zh-CN" dirty="0"/>
              <a:t> and food safe and </a:t>
            </a:r>
            <a:r>
              <a:rPr lang="en-US" altLang="zh-CN" dirty="0" err="1"/>
              <a:t>nutrional</a:t>
            </a:r>
            <a:r>
              <a:rPr lang="en-US" altLang="zh-CN" dirty="0"/>
              <a:t> benefit</a:t>
            </a:r>
          </a:p>
          <a:p>
            <a:r>
              <a:rPr lang="en-US" altLang="zh-CN" dirty="0" err="1"/>
              <a:t>Ntruinoal</a:t>
            </a:r>
            <a:r>
              <a:rPr lang="en-US" altLang="zh-CN" dirty="0"/>
              <a:t> benefit comes with no washing solution, which is inline with </a:t>
            </a:r>
            <a:r>
              <a:rPr lang="en-US" altLang="zh-CN" dirty="0" err="1"/>
              <a:t>buhler</a:t>
            </a:r>
            <a:r>
              <a:rPr lang="en-US" altLang="zh-CN" dirty="0"/>
              <a:t> vison to reduce impact on 50% </a:t>
            </a:r>
            <a:r>
              <a:rPr lang="en-US" altLang="zh-CN" dirty="0" err="1"/>
              <a:t>mkjad</a:t>
            </a:r>
            <a:endParaRPr lang="en-US" altLang="zh-CN" dirty="0"/>
          </a:p>
        </p:txBody>
      </p:sp>
      <p:sp>
        <p:nvSpPr>
          <p:cNvPr id="4" name="灯片编号占位符 3"/>
          <p:cNvSpPr>
            <a:spLocks noGrp="1"/>
          </p:cNvSpPr>
          <p:nvPr>
            <p:ph type="sldNum" sz="quarter" idx="5"/>
          </p:nvPr>
        </p:nvSpPr>
        <p:spPr/>
        <p:txBody>
          <a:bodyPr/>
          <a:lstStyle/>
          <a:p>
            <a:fld id="{82E889FF-B10F-40D6-B1BC-76B1A15B01CC}" type="slidenum">
              <a:rPr lang="de-DE" smtClean="0"/>
              <a:pPr/>
              <a:t>8</a:t>
            </a:fld>
            <a:endParaRPr lang="de-DE"/>
          </a:p>
        </p:txBody>
      </p:sp>
    </p:spTree>
    <p:extLst>
      <p:ext uri="{BB962C8B-B14F-4D97-AF65-F5344CB8AC3E}">
        <p14:creationId xmlns:p14="http://schemas.microsoft.com/office/powerpoint/2010/main" val="28253272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36550" y="823913"/>
            <a:ext cx="6121400" cy="3443287"/>
          </a:xfrm>
        </p:spPr>
      </p:sp>
      <p:sp>
        <p:nvSpPr>
          <p:cNvPr id="3" name="备注占位符 2"/>
          <p:cNvSpPr>
            <a:spLocks noGrp="1"/>
          </p:cNvSpPr>
          <p:nvPr>
            <p:ph type="body" idx="1"/>
          </p:nvPr>
        </p:nvSpPr>
        <p:spPr/>
        <p:txBody>
          <a:bodyPr/>
          <a:lstStyle/>
          <a:p>
            <a:r>
              <a:rPr lang="en-US" altLang="zh-CN" err="1"/>
              <a:t>Foudation</a:t>
            </a:r>
            <a:r>
              <a:rPr lang="en-US" altLang="zh-CN"/>
              <a:t> for </a:t>
            </a:r>
            <a:r>
              <a:rPr lang="en-US" altLang="zh-CN" err="1"/>
              <a:t>nutious</a:t>
            </a:r>
            <a:r>
              <a:rPr lang="en-US" altLang="zh-CN"/>
              <a:t> </a:t>
            </a:r>
            <a:r>
              <a:rPr lang="en-US" altLang="zh-CN" err="1"/>
              <a:t>standable</a:t>
            </a:r>
            <a:r>
              <a:rPr lang="en-US" altLang="zh-CN"/>
              <a:t> solution:</a:t>
            </a:r>
          </a:p>
          <a:p>
            <a:pPr marL="228600" indent="-228600">
              <a:buAutoNum type="arabicPeriod"/>
            </a:pPr>
            <a:r>
              <a:rPr lang="en-US" altLang="zh-CN"/>
              <a:t>Food safe</a:t>
            </a:r>
          </a:p>
          <a:p>
            <a:pPr marL="228600" indent="-228600">
              <a:buAutoNum type="arabicPeriod"/>
            </a:pPr>
            <a:r>
              <a:rPr lang="en-US" altLang="zh-CN" err="1"/>
              <a:t>Stabel</a:t>
            </a:r>
            <a:endParaRPr lang="en-US" altLang="zh-CN"/>
          </a:p>
          <a:p>
            <a:pPr marL="228600" indent="-228600">
              <a:buAutoNum type="arabicPeriod"/>
            </a:pPr>
            <a:r>
              <a:rPr lang="en-US" altLang="zh-CN"/>
              <a:t>Reliable</a:t>
            </a:r>
          </a:p>
          <a:p>
            <a:pPr marL="228600" indent="-228600">
              <a:buAutoNum type="arabicPeriod"/>
            </a:pPr>
            <a:r>
              <a:rPr lang="en-US" altLang="zh-CN"/>
              <a:t>High economic performance</a:t>
            </a:r>
          </a:p>
          <a:p>
            <a:pPr marL="228600" indent="-228600">
              <a:buAutoNum type="arabicPeriod"/>
            </a:pPr>
            <a:r>
              <a:rPr lang="en-US" altLang="zh-CN"/>
              <a:t>Global </a:t>
            </a:r>
            <a:r>
              <a:rPr lang="en-US" altLang="zh-CN" err="1"/>
              <a:t>vaiaLBE</a:t>
            </a:r>
            <a:r>
              <a:rPr lang="en-US" altLang="zh-CN"/>
              <a:t> SE</a:t>
            </a:r>
          </a:p>
          <a:p>
            <a:pPr marL="228600" indent="-228600">
              <a:buAutoNum type="arabicPeriod"/>
            </a:pPr>
            <a:r>
              <a:rPr lang="en-US" altLang="zh-CN" err="1"/>
              <a:t>sERIVCE</a:t>
            </a:r>
            <a:endParaRPr lang="en-US" altLang="zh-CN"/>
          </a:p>
          <a:p>
            <a:endParaRPr lang="en-US"/>
          </a:p>
        </p:txBody>
      </p:sp>
      <p:sp>
        <p:nvSpPr>
          <p:cNvPr id="4" name="灯片编号占位符 3"/>
          <p:cNvSpPr>
            <a:spLocks noGrp="1"/>
          </p:cNvSpPr>
          <p:nvPr>
            <p:ph type="sldNum" sz="quarter" idx="5"/>
          </p:nvPr>
        </p:nvSpPr>
        <p:spPr/>
        <p:txBody>
          <a:bodyPr/>
          <a:lstStyle/>
          <a:p>
            <a:fld id="{82E889FF-B10F-40D6-B1BC-76B1A15B01CC}" type="slidenum">
              <a:rPr lang="de-DE" smtClean="0"/>
              <a:pPr/>
              <a:t>9</a:t>
            </a:fld>
            <a:endParaRPr lang="de-DE"/>
          </a:p>
        </p:txBody>
      </p:sp>
    </p:spTree>
    <p:extLst>
      <p:ext uri="{BB962C8B-B14F-4D97-AF65-F5344CB8AC3E}">
        <p14:creationId xmlns:p14="http://schemas.microsoft.com/office/powerpoint/2010/main" val="35612618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6550" y="823913"/>
            <a:ext cx="6121400" cy="34432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E889FF-B10F-40D6-B1BC-76B1A15B01CC}" type="slidenum">
              <a:rPr kumimoji="0" lang="de-DE" sz="1000" b="0" i="0" u="none" strike="noStrike" kern="1200" cap="none" spc="0" normalizeH="0" baseline="0" noProof="0" smtClean="0">
                <a:ln>
                  <a:noFill/>
                </a:ln>
                <a:solidFill>
                  <a:srgbClr val="00324B"/>
                </a:solidFill>
                <a:effectLst/>
                <a:uLnTx/>
                <a:uFillTx/>
                <a:latin typeface="Arial Nova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000" b="0" i="0" u="none" strike="noStrike" kern="1200" cap="none" spc="0" normalizeH="0" baseline="0" noProof="0">
              <a:ln>
                <a:noFill/>
              </a:ln>
              <a:solidFill>
                <a:srgbClr val="00324B"/>
              </a:solidFill>
              <a:effectLst/>
              <a:uLnTx/>
              <a:uFillTx/>
              <a:latin typeface="Arial Nova Light"/>
              <a:ea typeface="+mn-ea"/>
              <a:cs typeface="+mn-cs"/>
            </a:endParaRPr>
          </a:p>
        </p:txBody>
      </p:sp>
    </p:spTree>
    <p:extLst>
      <p:ext uri="{BB962C8B-B14F-4D97-AF65-F5344CB8AC3E}">
        <p14:creationId xmlns:p14="http://schemas.microsoft.com/office/powerpoint/2010/main" val="39662683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4.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7.jpeg"/><Relationship Id="rId4" Type="http://schemas.openxmlformats.org/officeDocument/2006/relationships/image" Target="../media/image6.svg"/></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18.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jpe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whi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148958-44D8-4D46-9991-D3EBEB1A92F7}"/>
              </a:ext>
            </a:extLst>
          </p:cNvPr>
          <p:cNvSpPr>
            <a:spLocks noGrp="1"/>
          </p:cNvSpPr>
          <p:nvPr>
            <p:ph type="ctrTitle"/>
          </p:nvPr>
        </p:nvSpPr>
        <p:spPr>
          <a:xfrm>
            <a:off x="6349615" y="2276872"/>
            <a:ext cx="5004122" cy="1656000"/>
          </a:xfrm>
        </p:spPr>
        <p:txBody>
          <a:bodyPr vert="horz" lIns="0" tIns="0" rIns="0" bIns="0" rtlCol="0" anchor="b">
            <a:noAutofit/>
          </a:bodyPr>
          <a:lstStyle>
            <a:lvl1pPr>
              <a:defRPr lang="de-DE" sz="3200" dirty="0">
                <a:solidFill>
                  <a:schemeClr val="bg2"/>
                </a:solidFill>
              </a:defRPr>
            </a:lvl1pPr>
          </a:lstStyle>
          <a:p>
            <a:pPr lvl="0"/>
            <a:r>
              <a:rPr lang="zh-CN" altLang="en-US"/>
              <a:t>单击此处编辑母版标题样式</a:t>
            </a:r>
            <a:endParaRPr lang="de-DE"/>
          </a:p>
        </p:txBody>
      </p:sp>
      <p:sp>
        <p:nvSpPr>
          <p:cNvPr id="3" name="Untertitel 2">
            <a:extLst>
              <a:ext uri="{FF2B5EF4-FFF2-40B4-BE49-F238E27FC236}">
                <a16:creationId xmlns:a16="http://schemas.microsoft.com/office/drawing/2014/main" id="{FA5B861B-70F7-479A-8850-81678B64A82D}"/>
              </a:ext>
            </a:extLst>
          </p:cNvPr>
          <p:cNvSpPr>
            <a:spLocks noGrp="1"/>
          </p:cNvSpPr>
          <p:nvPr>
            <p:ph type="subTitle" idx="1"/>
          </p:nvPr>
        </p:nvSpPr>
        <p:spPr>
          <a:xfrm>
            <a:off x="6349615" y="4214106"/>
            <a:ext cx="5004122" cy="792000"/>
          </a:xfrm>
        </p:spPr>
        <p:txBody>
          <a:bodyPr vert="horz" lIns="0" tIns="0" rIns="0" bIns="0" rtlCol="0">
            <a:noAutofit/>
          </a:bodyPr>
          <a:lstStyle>
            <a:lvl1pPr>
              <a:defRPr lang="de-DE" dirty="0">
                <a:solidFill>
                  <a:schemeClr val="tx1"/>
                </a:solidFill>
              </a:defRPr>
            </a:lvl1pPr>
          </a:lstStyle>
          <a:p>
            <a:pPr lvl="0">
              <a:spcBef>
                <a:spcPts val="0"/>
              </a:spcBef>
            </a:pPr>
            <a:r>
              <a:rPr lang="zh-CN" altLang="en-US"/>
              <a:t>单击此处编辑母版副标题样式</a:t>
            </a:r>
            <a:endParaRPr lang="de-DE"/>
          </a:p>
        </p:txBody>
      </p:sp>
      <p:sp>
        <p:nvSpPr>
          <p:cNvPr id="25" name="Fußzeilenplatzhalter 2" hidden="1">
            <a:extLst>
              <a:ext uri="{FF2B5EF4-FFF2-40B4-BE49-F238E27FC236}">
                <a16:creationId xmlns:a16="http://schemas.microsoft.com/office/drawing/2014/main" id="{5BD9172A-82DB-4809-823F-544145D1687C}"/>
              </a:ext>
            </a:extLst>
          </p:cNvPr>
          <p:cNvSpPr>
            <a:spLocks noGrp="1"/>
          </p:cNvSpPr>
          <p:nvPr>
            <p:ph type="ftr" sz="quarter" idx="10"/>
          </p:nvPr>
        </p:nvSpPr>
        <p:spPr>
          <a:xfrm rot="16200000">
            <a:off x="10021500" y="3555244"/>
            <a:ext cx="3960000" cy="180000"/>
          </a:xfrm>
        </p:spPr>
        <p:txBody>
          <a:bodyPr/>
          <a:lstStyle>
            <a:lvl1pPr>
              <a:defRPr>
                <a:noFill/>
              </a:defRPr>
            </a:lvl1pPr>
          </a:lstStyle>
          <a:p>
            <a:r>
              <a:rPr lang="en-US"/>
              <a:t>Footer of the presentation</a:t>
            </a:r>
          </a:p>
        </p:txBody>
      </p:sp>
      <p:sp>
        <p:nvSpPr>
          <p:cNvPr id="26" name="Foliennummernplatzhalter 4" hidden="1">
            <a:extLst>
              <a:ext uri="{FF2B5EF4-FFF2-40B4-BE49-F238E27FC236}">
                <a16:creationId xmlns:a16="http://schemas.microsoft.com/office/drawing/2014/main" id="{F83C332A-25C1-455D-A5D9-B709EA05DCF2}"/>
              </a:ext>
            </a:extLst>
          </p:cNvPr>
          <p:cNvSpPr>
            <a:spLocks noGrp="1"/>
          </p:cNvSpPr>
          <p:nvPr>
            <p:ph type="sldNum" sz="quarter" idx="11"/>
          </p:nvPr>
        </p:nvSpPr>
        <p:spPr>
          <a:xfrm rot="16200000">
            <a:off x="11785500" y="6363360"/>
            <a:ext cx="432000" cy="180000"/>
          </a:xfrm>
        </p:spPr>
        <p:txBody>
          <a:bodyPr/>
          <a:lstStyle>
            <a:lvl1pPr>
              <a:defRPr>
                <a:noFill/>
              </a:defRPr>
            </a:lvl1pPr>
          </a:lstStyle>
          <a:p>
            <a:fld id="{0D1F56E0-B6F6-48D7-9539-F293D99B01ED}" type="slidenum">
              <a:rPr lang="en-US" smtClean="0"/>
              <a:pPr/>
              <a:t>‹#›</a:t>
            </a:fld>
            <a:endParaRPr lang="en-US"/>
          </a:p>
        </p:txBody>
      </p:sp>
      <p:pic>
        <p:nvPicPr>
          <p:cNvPr id="27" name="Grafik 26">
            <a:extLst>
              <a:ext uri="{FF2B5EF4-FFF2-40B4-BE49-F238E27FC236}">
                <a16:creationId xmlns:a16="http://schemas.microsoft.com/office/drawing/2014/main" id="{2B7C905A-0DDD-4D97-872A-3D1984F3799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9328422" y="5461543"/>
            <a:ext cx="2480331" cy="1015040"/>
          </a:xfrm>
          <a:prstGeom prst="rect">
            <a:avLst/>
          </a:prstGeom>
        </p:spPr>
      </p:pic>
      <p:pic>
        <p:nvPicPr>
          <p:cNvPr id="28" name="Grafik 27">
            <a:extLst>
              <a:ext uri="{FF2B5EF4-FFF2-40B4-BE49-F238E27FC236}">
                <a16:creationId xmlns:a16="http://schemas.microsoft.com/office/drawing/2014/main" id="{29AECCCF-5F3E-4069-9C56-C5AE5488F21A}"/>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flipH="1" flipV="1">
            <a:off x="2346660" y="350397"/>
            <a:ext cx="3498899" cy="4613282"/>
          </a:xfrm>
          <a:prstGeom prst="rect">
            <a:avLst/>
          </a:prstGeom>
        </p:spPr>
      </p:pic>
    </p:spTree>
    <p:extLst>
      <p:ext uri="{BB962C8B-B14F-4D97-AF65-F5344CB8AC3E}">
        <p14:creationId xmlns:p14="http://schemas.microsoft.com/office/powerpoint/2010/main" val="4056935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wo contents">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72952" y="296651"/>
            <a:ext cx="11449049" cy="936000"/>
          </a:xfrm>
          <a:prstGeom prst="rect">
            <a:avLst/>
          </a:prstGeom>
        </p:spPr>
        <p:txBody>
          <a:bodyPr/>
          <a:lstStyle>
            <a:lvl1pPr>
              <a:defRPr/>
            </a:lvl1pPr>
          </a:lstStyle>
          <a:p>
            <a:r>
              <a:rPr lang="zh-CN" altLang="en-US"/>
              <a:t>单击此处编辑母版标题样式</a:t>
            </a:r>
            <a:endParaRPr lang="en-US"/>
          </a:p>
        </p:txBody>
      </p:sp>
      <p:sp>
        <p:nvSpPr>
          <p:cNvPr id="3" name="Inhaltsplatzhalter 2"/>
          <p:cNvSpPr>
            <a:spLocks noGrp="1"/>
          </p:cNvSpPr>
          <p:nvPr>
            <p:ph idx="1" hasCustomPrompt="1"/>
          </p:nvPr>
        </p:nvSpPr>
        <p:spPr bwMode="gray">
          <a:xfrm>
            <a:off x="373063" y="1665288"/>
            <a:ext cx="5472112" cy="50038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Subline First Level</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pic>
        <p:nvPicPr>
          <p:cNvPr id="6" name="Grafik 64">
            <a:extLst>
              <a:ext uri="{FF2B5EF4-FFF2-40B4-BE49-F238E27FC236}">
                <a16:creationId xmlns:a16="http://schemas.microsoft.com/office/drawing/2014/main" id="{24558650-3D52-48D4-840A-DEBCD1D174D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rot="16200000">
            <a:off x="11547102" y="335844"/>
            <a:ext cx="932160" cy="381473"/>
          </a:xfrm>
          <a:prstGeom prst="rect">
            <a:avLst/>
          </a:prstGeom>
        </p:spPr>
      </p:pic>
      <p:sp>
        <p:nvSpPr>
          <p:cNvPr id="4" name="Footer Placeholder 3">
            <a:extLst>
              <a:ext uri="{FF2B5EF4-FFF2-40B4-BE49-F238E27FC236}">
                <a16:creationId xmlns:a16="http://schemas.microsoft.com/office/drawing/2014/main" id="{CF5164C4-5D0D-4B79-962F-B220F9F47B73}"/>
              </a:ext>
            </a:extLst>
          </p:cNvPr>
          <p:cNvSpPr>
            <a:spLocks noGrp="1"/>
          </p:cNvSpPr>
          <p:nvPr>
            <p:ph type="ftr" sz="quarter" idx="10"/>
          </p:nvPr>
        </p:nvSpPr>
        <p:spPr bwMode="gray"/>
        <p:txBody>
          <a:bodyPr/>
          <a:lstStyle/>
          <a:p>
            <a:r>
              <a:rPr lang="en-US"/>
              <a:t>Footer of the presentation</a:t>
            </a:r>
          </a:p>
        </p:txBody>
      </p:sp>
      <p:sp>
        <p:nvSpPr>
          <p:cNvPr id="7" name="Slide Number Placeholder 6">
            <a:extLst>
              <a:ext uri="{FF2B5EF4-FFF2-40B4-BE49-F238E27FC236}">
                <a16:creationId xmlns:a16="http://schemas.microsoft.com/office/drawing/2014/main" id="{4276346C-96E0-4E02-AECD-7BF79CE13A0A}"/>
              </a:ext>
            </a:extLst>
          </p:cNvPr>
          <p:cNvSpPr>
            <a:spLocks noGrp="1"/>
          </p:cNvSpPr>
          <p:nvPr>
            <p:ph type="sldNum" sz="quarter" idx="11"/>
          </p:nvPr>
        </p:nvSpPr>
        <p:spPr bwMode="gray"/>
        <p:txBody>
          <a:bodyPr/>
          <a:lstStyle/>
          <a:p>
            <a:fld id="{0D1F56E0-B6F6-48D7-9539-F293D99B01ED}" type="slidenum">
              <a:rPr lang="en-US" smtClean="0"/>
              <a:pPr/>
              <a:t>‹#›</a:t>
            </a:fld>
            <a:endParaRPr lang="en-US"/>
          </a:p>
        </p:txBody>
      </p:sp>
      <p:sp>
        <p:nvSpPr>
          <p:cNvPr id="8" name="Inhaltsplatzhalter 2">
            <a:extLst>
              <a:ext uri="{FF2B5EF4-FFF2-40B4-BE49-F238E27FC236}">
                <a16:creationId xmlns:a16="http://schemas.microsoft.com/office/drawing/2014/main" id="{6BC2B176-B02A-4A7F-88CF-8CFE3660DABA}"/>
              </a:ext>
            </a:extLst>
          </p:cNvPr>
          <p:cNvSpPr>
            <a:spLocks noGrp="1"/>
          </p:cNvSpPr>
          <p:nvPr>
            <p:ph idx="12" hasCustomPrompt="1"/>
          </p:nvPr>
        </p:nvSpPr>
        <p:spPr bwMode="gray">
          <a:xfrm>
            <a:off x="6349615" y="1665288"/>
            <a:ext cx="5472112" cy="50038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Subline First Level</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Tree>
    <p:extLst>
      <p:ext uri="{BB962C8B-B14F-4D97-AF65-F5344CB8AC3E}">
        <p14:creationId xmlns:p14="http://schemas.microsoft.com/office/powerpoint/2010/main" val="742648333"/>
      </p:ext>
    </p:extLst>
  </p:cSld>
  <p:clrMapOvr>
    <a:masterClrMapping/>
  </p:clrMapOvr>
  <p:extLst>
    <p:ext uri="{DCECCB84-F9BA-43D5-87BE-67443E8EF086}">
      <p15:sldGuideLst xmlns:p15="http://schemas.microsoft.com/office/powerpoint/2012/main">
        <p15:guide id="1" pos="7447" userDrawn="1">
          <p15:clr>
            <a:srgbClr val="F26B43"/>
          </p15:clr>
        </p15:guide>
        <p15:guide id="2" orient="horz" pos="4201" userDrawn="1">
          <p15:clr>
            <a:srgbClr val="F26B43"/>
          </p15:clr>
        </p15:guide>
        <p15:guide id="3" orient="horz" pos="1049" userDrawn="1">
          <p15:clr>
            <a:srgbClr val="F26B43"/>
          </p15:clr>
        </p15:guide>
        <p15:guide id="4" pos="235"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hree contents">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72952" y="296651"/>
            <a:ext cx="11449049" cy="936000"/>
          </a:xfrm>
          <a:prstGeom prst="rect">
            <a:avLst/>
          </a:prstGeom>
        </p:spPr>
        <p:txBody>
          <a:bodyPr/>
          <a:lstStyle>
            <a:lvl1pPr>
              <a:defRPr/>
            </a:lvl1pPr>
          </a:lstStyle>
          <a:p>
            <a:r>
              <a:rPr lang="zh-CN" altLang="en-US"/>
              <a:t>单击此处编辑母版标题样式</a:t>
            </a:r>
            <a:endParaRPr lang="en-US"/>
          </a:p>
        </p:txBody>
      </p:sp>
      <p:sp>
        <p:nvSpPr>
          <p:cNvPr id="3" name="Inhaltsplatzhalter 2"/>
          <p:cNvSpPr>
            <a:spLocks noGrp="1"/>
          </p:cNvSpPr>
          <p:nvPr>
            <p:ph idx="1" hasCustomPrompt="1"/>
          </p:nvPr>
        </p:nvSpPr>
        <p:spPr bwMode="gray">
          <a:xfrm>
            <a:off x="373063" y="1665288"/>
            <a:ext cx="3529012" cy="50038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Subline First Level</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pic>
        <p:nvPicPr>
          <p:cNvPr id="6" name="Grafik 64">
            <a:extLst>
              <a:ext uri="{FF2B5EF4-FFF2-40B4-BE49-F238E27FC236}">
                <a16:creationId xmlns:a16="http://schemas.microsoft.com/office/drawing/2014/main" id="{24558650-3D52-48D4-840A-DEBCD1D174D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rot="16200000">
            <a:off x="11547102" y="335844"/>
            <a:ext cx="932160" cy="381473"/>
          </a:xfrm>
          <a:prstGeom prst="rect">
            <a:avLst/>
          </a:prstGeom>
        </p:spPr>
      </p:pic>
      <p:sp>
        <p:nvSpPr>
          <p:cNvPr id="4" name="Footer Placeholder 3">
            <a:extLst>
              <a:ext uri="{FF2B5EF4-FFF2-40B4-BE49-F238E27FC236}">
                <a16:creationId xmlns:a16="http://schemas.microsoft.com/office/drawing/2014/main" id="{CF5164C4-5D0D-4B79-962F-B220F9F47B73}"/>
              </a:ext>
            </a:extLst>
          </p:cNvPr>
          <p:cNvSpPr>
            <a:spLocks noGrp="1"/>
          </p:cNvSpPr>
          <p:nvPr>
            <p:ph type="ftr" sz="quarter" idx="10"/>
          </p:nvPr>
        </p:nvSpPr>
        <p:spPr bwMode="gray"/>
        <p:txBody>
          <a:bodyPr/>
          <a:lstStyle/>
          <a:p>
            <a:r>
              <a:rPr lang="en-US"/>
              <a:t>Footer of the presentation</a:t>
            </a:r>
          </a:p>
        </p:txBody>
      </p:sp>
      <p:sp>
        <p:nvSpPr>
          <p:cNvPr id="7" name="Slide Number Placeholder 6">
            <a:extLst>
              <a:ext uri="{FF2B5EF4-FFF2-40B4-BE49-F238E27FC236}">
                <a16:creationId xmlns:a16="http://schemas.microsoft.com/office/drawing/2014/main" id="{4276346C-96E0-4E02-AECD-7BF79CE13A0A}"/>
              </a:ext>
            </a:extLst>
          </p:cNvPr>
          <p:cNvSpPr>
            <a:spLocks noGrp="1"/>
          </p:cNvSpPr>
          <p:nvPr>
            <p:ph type="sldNum" sz="quarter" idx="11"/>
          </p:nvPr>
        </p:nvSpPr>
        <p:spPr bwMode="gray"/>
        <p:txBody>
          <a:bodyPr/>
          <a:lstStyle/>
          <a:p>
            <a:fld id="{0D1F56E0-B6F6-48D7-9539-F293D99B01ED}" type="slidenum">
              <a:rPr lang="en-US" smtClean="0"/>
              <a:pPr/>
              <a:t>‹#›</a:t>
            </a:fld>
            <a:endParaRPr lang="en-US"/>
          </a:p>
        </p:txBody>
      </p:sp>
      <p:sp>
        <p:nvSpPr>
          <p:cNvPr id="8" name="Inhaltsplatzhalter 2">
            <a:extLst>
              <a:ext uri="{FF2B5EF4-FFF2-40B4-BE49-F238E27FC236}">
                <a16:creationId xmlns:a16="http://schemas.microsoft.com/office/drawing/2014/main" id="{6BC2B176-B02A-4A7F-88CF-8CFE3660DABA}"/>
              </a:ext>
            </a:extLst>
          </p:cNvPr>
          <p:cNvSpPr>
            <a:spLocks noGrp="1"/>
          </p:cNvSpPr>
          <p:nvPr>
            <p:ph idx="12" hasCustomPrompt="1"/>
          </p:nvPr>
        </p:nvSpPr>
        <p:spPr bwMode="gray">
          <a:xfrm>
            <a:off x="4333875" y="1665288"/>
            <a:ext cx="3527425" cy="50038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Subline First Level</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9" name="Inhaltsplatzhalter 2">
            <a:extLst>
              <a:ext uri="{FF2B5EF4-FFF2-40B4-BE49-F238E27FC236}">
                <a16:creationId xmlns:a16="http://schemas.microsoft.com/office/drawing/2014/main" id="{142940B3-9506-4C9F-9171-C2BB8843E75A}"/>
              </a:ext>
            </a:extLst>
          </p:cNvPr>
          <p:cNvSpPr>
            <a:spLocks noGrp="1"/>
          </p:cNvSpPr>
          <p:nvPr>
            <p:ph idx="13" hasCustomPrompt="1"/>
          </p:nvPr>
        </p:nvSpPr>
        <p:spPr bwMode="gray">
          <a:xfrm>
            <a:off x="8293100" y="1665288"/>
            <a:ext cx="3529013" cy="50038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Subline First Level</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Tree>
    <p:extLst>
      <p:ext uri="{BB962C8B-B14F-4D97-AF65-F5344CB8AC3E}">
        <p14:creationId xmlns:p14="http://schemas.microsoft.com/office/powerpoint/2010/main" val="3898183412"/>
      </p:ext>
    </p:extLst>
  </p:cSld>
  <p:clrMapOvr>
    <a:masterClrMapping/>
  </p:clrMapOvr>
  <p:extLst>
    <p:ext uri="{DCECCB84-F9BA-43D5-87BE-67443E8EF086}">
      <p15:sldGuideLst xmlns:p15="http://schemas.microsoft.com/office/powerpoint/2012/main">
        <p15:guide id="1" pos="235" userDrawn="1">
          <p15:clr>
            <a:srgbClr val="F26B43"/>
          </p15:clr>
        </p15:guide>
        <p15:guide id="2" orient="horz" pos="4201" userDrawn="1">
          <p15:clr>
            <a:srgbClr val="F26B43"/>
          </p15:clr>
        </p15:guide>
        <p15:guide id="3" pos="7447" userDrawn="1">
          <p15:clr>
            <a:srgbClr val="F26B43"/>
          </p15:clr>
        </p15:guide>
        <p15:guide id="4" orient="horz" pos="1049"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Margin column">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73063" y="296756"/>
            <a:ext cx="7488237" cy="936000"/>
          </a:xfrm>
          <a:prstGeom prst="rect">
            <a:avLst/>
          </a:prstGeom>
        </p:spPr>
        <p:txBody>
          <a:bodyPr/>
          <a:lstStyle>
            <a:lvl1pPr>
              <a:defRPr/>
            </a:lvl1pPr>
          </a:lstStyle>
          <a:p>
            <a:r>
              <a:rPr lang="zh-CN" altLang="en-US"/>
              <a:t>单击此处编辑母版标题样式</a:t>
            </a:r>
            <a:endParaRPr lang="en-US"/>
          </a:p>
        </p:txBody>
      </p:sp>
      <p:sp>
        <p:nvSpPr>
          <p:cNvPr id="3" name="Inhaltsplatzhalter 2"/>
          <p:cNvSpPr>
            <a:spLocks noGrp="1"/>
          </p:cNvSpPr>
          <p:nvPr>
            <p:ph idx="1" hasCustomPrompt="1"/>
          </p:nvPr>
        </p:nvSpPr>
        <p:spPr bwMode="gray">
          <a:xfrm>
            <a:off x="373062" y="1665288"/>
            <a:ext cx="7488237" cy="50038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Subline First Level</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8" name="Rechteck 1">
            <a:extLst>
              <a:ext uri="{FF2B5EF4-FFF2-40B4-BE49-F238E27FC236}">
                <a16:creationId xmlns:a16="http://schemas.microsoft.com/office/drawing/2014/main" id="{669B15C9-A9F1-45E5-AE95-DED703161678}"/>
              </a:ext>
            </a:extLst>
          </p:cNvPr>
          <p:cNvSpPr/>
          <p:nvPr userDrawn="1"/>
        </p:nvSpPr>
        <p:spPr bwMode="gray">
          <a:xfrm>
            <a:off x="8293100" y="0"/>
            <a:ext cx="390207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err="1">
              <a:solidFill>
                <a:schemeClr val="tx2"/>
              </a:solidFill>
              <a:latin typeface="Arial Nova Light" panose="020B0304020202020204" pitchFamily="34" charset="0"/>
              <a:cs typeface="Arial" panose="020B0604020202020204" pitchFamily="34" charset="0"/>
            </a:endParaRPr>
          </a:p>
        </p:txBody>
      </p:sp>
      <p:sp>
        <p:nvSpPr>
          <p:cNvPr id="4" name="Fußzeilenplatzhalter 3" hidden="1">
            <a:extLst>
              <a:ext uri="{FF2B5EF4-FFF2-40B4-BE49-F238E27FC236}">
                <a16:creationId xmlns:a16="http://schemas.microsoft.com/office/drawing/2014/main" id="{C72B6868-A356-47FE-A50C-5551269227FB}"/>
              </a:ext>
            </a:extLst>
          </p:cNvPr>
          <p:cNvSpPr>
            <a:spLocks noGrp="1"/>
          </p:cNvSpPr>
          <p:nvPr>
            <p:ph type="ftr" sz="quarter" idx="10"/>
          </p:nvPr>
        </p:nvSpPr>
        <p:spPr/>
        <p:txBody>
          <a:bodyPr/>
          <a:lstStyle>
            <a:lvl1pPr>
              <a:defRPr>
                <a:noFill/>
              </a:defRPr>
            </a:lvl1pPr>
          </a:lstStyle>
          <a:p>
            <a:r>
              <a:rPr lang="en-US"/>
              <a:t>Footer of the presentation</a:t>
            </a:r>
          </a:p>
        </p:txBody>
      </p:sp>
      <p:sp>
        <p:nvSpPr>
          <p:cNvPr id="5" name="Foliennummernplatzhalter 4" hidden="1">
            <a:extLst>
              <a:ext uri="{FF2B5EF4-FFF2-40B4-BE49-F238E27FC236}">
                <a16:creationId xmlns:a16="http://schemas.microsoft.com/office/drawing/2014/main" id="{550A995A-9204-496C-BA34-BFEA4900CB50}"/>
              </a:ext>
            </a:extLst>
          </p:cNvPr>
          <p:cNvSpPr>
            <a:spLocks noGrp="1"/>
          </p:cNvSpPr>
          <p:nvPr>
            <p:ph type="sldNum" sz="quarter" idx="11"/>
          </p:nvPr>
        </p:nvSpPr>
        <p:spPr/>
        <p:txBody>
          <a:bodyPr/>
          <a:lstStyle>
            <a:lvl1pPr>
              <a:defRPr>
                <a:noFill/>
              </a:defRPr>
            </a:lvl1pPr>
          </a:lstStyle>
          <a:p>
            <a:fld id="{0D1F56E0-B6F6-48D7-9539-F293D99B01ED}" type="slidenum">
              <a:rPr lang="en-US" smtClean="0"/>
              <a:pPr/>
              <a:t>‹#›</a:t>
            </a:fld>
            <a:endParaRPr lang="en-US"/>
          </a:p>
        </p:txBody>
      </p:sp>
    </p:spTree>
    <p:extLst>
      <p:ext uri="{BB962C8B-B14F-4D97-AF65-F5344CB8AC3E}">
        <p14:creationId xmlns:p14="http://schemas.microsoft.com/office/powerpoint/2010/main" val="2798077095"/>
      </p:ext>
    </p:extLst>
  </p:cSld>
  <p:clrMapOvr>
    <a:masterClrMapping/>
  </p:clrMapOvr>
  <p:extLst>
    <p:ext uri="{DCECCB84-F9BA-43D5-87BE-67443E8EF086}">
      <p15:sldGuideLst xmlns:p15="http://schemas.microsoft.com/office/powerpoint/2012/main">
        <p15:guide id="1" pos="7560">
          <p15:clr>
            <a:srgbClr val="F26B43"/>
          </p15:clr>
        </p15:guide>
        <p15:guide id="2" orient="horz" pos="4201">
          <p15:clr>
            <a:srgbClr val="F26B43"/>
          </p15:clr>
        </p15:guide>
        <p15:guide id="3" pos="235">
          <p15:clr>
            <a:srgbClr val="F26B43"/>
          </p15:clr>
        </p15:guide>
        <p15:guide id="4" orient="horz" pos="1049">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lef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73063" y="296756"/>
            <a:ext cx="3529012" cy="936000"/>
          </a:xfrm>
          <a:prstGeom prst="rect">
            <a:avLst/>
          </a:prstGeom>
        </p:spPr>
        <p:txBody>
          <a:bodyPr/>
          <a:lstStyle>
            <a:lvl1pPr>
              <a:defRPr/>
            </a:lvl1pPr>
          </a:lstStyle>
          <a:p>
            <a:r>
              <a:rPr lang="zh-CN" altLang="en-US"/>
              <a:t>单击此处编辑母版标题样式</a:t>
            </a:r>
            <a:endParaRPr lang="en-US"/>
          </a:p>
        </p:txBody>
      </p:sp>
      <p:sp>
        <p:nvSpPr>
          <p:cNvPr id="3" name="Inhaltsplatzhalter 2"/>
          <p:cNvSpPr>
            <a:spLocks noGrp="1"/>
          </p:cNvSpPr>
          <p:nvPr>
            <p:ph idx="1" hasCustomPrompt="1"/>
          </p:nvPr>
        </p:nvSpPr>
        <p:spPr bwMode="gray">
          <a:xfrm>
            <a:off x="373063" y="1665288"/>
            <a:ext cx="3529012" cy="50038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Subline First Level</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pic>
        <p:nvPicPr>
          <p:cNvPr id="6" name="Grafik 64">
            <a:extLst>
              <a:ext uri="{FF2B5EF4-FFF2-40B4-BE49-F238E27FC236}">
                <a16:creationId xmlns:a16="http://schemas.microsoft.com/office/drawing/2014/main" id="{24558650-3D52-48D4-840A-DEBCD1D174D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rot="16200000">
            <a:off x="11547102" y="335844"/>
            <a:ext cx="932160" cy="381473"/>
          </a:xfrm>
          <a:prstGeom prst="rect">
            <a:avLst/>
          </a:prstGeom>
        </p:spPr>
      </p:pic>
      <p:sp>
        <p:nvSpPr>
          <p:cNvPr id="4" name="Footer Placeholder 3">
            <a:extLst>
              <a:ext uri="{FF2B5EF4-FFF2-40B4-BE49-F238E27FC236}">
                <a16:creationId xmlns:a16="http://schemas.microsoft.com/office/drawing/2014/main" id="{CF5164C4-5D0D-4B79-962F-B220F9F47B73}"/>
              </a:ext>
            </a:extLst>
          </p:cNvPr>
          <p:cNvSpPr>
            <a:spLocks noGrp="1"/>
          </p:cNvSpPr>
          <p:nvPr>
            <p:ph type="ftr" sz="quarter" idx="10"/>
          </p:nvPr>
        </p:nvSpPr>
        <p:spPr bwMode="gray"/>
        <p:txBody>
          <a:bodyPr/>
          <a:lstStyle/>
          <a:p>
            <a:r>
              <a:rPr lang="en-US"/>
              <a:t>Footer of the presentation</a:t>
            </a:r>
          </a:p>
        </p:txBody>
      </p:sp>
      <p:sp>
        <p:nvSpPr>
          <p:cNvPr id="7" name="Slide Number Placeholder 6">
            <a:extLst>
              <a:ext uri="{FF2B5EF4-FFF2-40B4-BE49-F238E27FC236}">
                <a16:creationId xmlns:a16="http://schemas.microsoft.com/office/drawing/2014/main" id="{4276346C-96E0-4E02-AECD-7BF79CE13A0A}"/>
              </a:ext>
            </a:extLst>
          </p:cNvPr>
          <p:cNvSpPr>
            <a:spLocks noGrp="1"/>
          </p:cNvSpPr>
          <p:nvPr>
            <p:ph type="sldNum" sz="quarter" idx="11"/>
          </p:nvPr>
        </p:nvSpPr>
        <p:spPr bwMode="gray"/>
        <p:txBody>
          <a:bodyPr/>
          <a:lstStyle/>
          <a:p>
            <a:fld id="{0D1F56E0-B6F6-48D7-9539-F293D99B01ED}" type="slidenum">
              <a:rPr lang="en-US" smtClean="0"/>
              <a:pPr/>
              <a:t>‹#›</a:t>
            </a:fld>
            <a:endParaRPr lang="en-US"/>
          </a:p>
        </p:txBody>
      </p:sp>
    </p:spTree>
    <p:extLst>
      <p:ext uri="{BB962C8B-B14F-4D97-AF65-F5344CB8AC3E}">
        <p14:creationId xmlns:p14="http://schemas.microsoft.com/office/powerpoint/2010/main" val="687870582"/>
      </p:ext>
    </p:extLst>
  </p:cSld>
  <p:clrMapOvr>
    <a:masterClrMapping/>
  </p:clrMapOvr>
  <p:extLst>
    <p:ext uri="{DCECCB84-F9BA-43D5-87BE-67443E8EF086}">
      <p15:sldGuideLst xmlns:p15="http://schemas.microsoft.com/office/powerpoint/2012/main">
        <p15:guide id="1" pos="235">
          <p15:clr>
            <a:srgbClr val="F26B43"/>
          </p15:clr>
        </p15:guide>
        <p15:guide id="2" orient="horz" pos="4201">
          <p15:clr>
            <a:srgbClr val="F26B43"/>
          </p15:clr>
        </p15:guide>
        <p15:guide id="3" pos="7447">
          <p15:clr>
            <a:srgbClr val="F26B43"/>
          </p15:clr>
        </p15:guide>
        <p15:guide id="4" orient="horz" pos="1049">
          <p15:clr>
            <a:srgbClr val="F26B43"/>
          </p15:clr>
        </p15:guide>
        <p15:guide id="5" pos="2458">
          <p15:clr>
            <a:srgbClr val="F26B43"/>
          </p15:clr>
        </p15:guide>
        <p15:guide id="6" pos="273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 righ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8293831" y="296756"/>
            <a:ext cx="3529012" cy="936000"/>
          </a:xfrm>
          <a:prstGeom prst="rect">
            <a:avLst/>
          </a:prstGeom>
        </p:spPr>
        <p:txBody>
          <a:bodyPr/>
          <a:lstStyle>
            <a:lvl1pPr>
              <a:defRPr/>
            </a:lvl1pPr>
          </a:lstStyle>
          <a:p>
            <a:r>
              <a:rPr lang="zh-CN" altLang="en-US"/>
              <a:t>单击此处编辑母版标题样式</a:t>
            </a:r>
            <a:endParaRPr lang="en-US"/>
          </a:p>
        </p:txBody>
      </p:sp>
      <p:sp>
        <p:nvSpPr>
          <p:cNvPr id="3" name="Inhaltsplatzhalter 2"/>
          <p:cNvSpPr>
            <a:spLocks noGrp="1"/>
          </p:cNvSpPr>
          <p:nvPr>
            <p:ph idx="1" hasCustomPrompt="1"/>
          </p:nvPr>
        </p:nvSpPr>
        <p:spPr bwMode="gray">
          <a:xfrm>
            <a:off x="8293831" y="1665288"/>
            <a:ext cx="3529012" cy="50038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Subline First Level</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pic>
        <p:nvPicPr>
          <p:cNvPr id="6" name="Grafik 64">
            <a:extLst>
              <a:ext uri="{FF2B5EF4-FFF2-40B4-BE49-F238E27FC236}">
                <a16:creationId xmlns:a16="http://schemas.microsoft.com/office/drawing/2014/main" id="{24558650-3D52-48D4-840A-DEBCD1D174D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rot="16200000">
            <a:off x="11547102" y="335844"/>
            <a:ext cx="932160" cy="381473"/>
          </a:xfrm>
          <a:prstGeom prst="rect">
            <a:avLst/>
          </a:prstGeom>
        </p:spPr>
      </p:pic>
      <p:sp>
        <p:nvSpPr>
          <p:cNvPr id="4" name="Footer Placeholder 3">
            <a:extLst>
              <a:ext uri="{FF2B5EF4-FFF2-40B4-BE49-F238E27FC236}">
                <a16:creationId xmlns:a16="http://schemas.microsoft.com/office/drawing/2014/main" id="{CF5164C4-5D0D-4B79-962F-B220F9F47B73}"/>
              </a:ext>
            </a:extLst>
          </p:cNvPr>
          <p:cNvSpPr>
            <a:spLocks noGrp="1"/>
          </p:cNvSpPr>
          <p:nvPr>
            <p:ph type="ftr" sz="quarter" idx="10"/>
          </p:nvPr>
        </p:nvSpPr>
        <p:spPr bwMode="gray"/>
        <p:txBody>
          <a:bodyPr/>
          <a:lstStyle/>
          <a:p>
            <a:r>
              <a:rPr lang="en-US"/>
              <a:t>Footer of the presentation</a:t>
            </a:r>
          </a:p>
        </p:txBody>
      </p:sp>
      <p:sp>
        <p:nvSpPr>
          <p:cNvPr id="7" name="Slide Number Placeholder 6">
            <a:extLst>
              <a:ext uri="{FF2B5EF4-FFF2-40B4-BE49-F238E27FC236}">
                <a16:creationId xmlns:a16="http://schemas.microsoft.com/office/drawing/2014/main" id="{4276346C-96E0-4E02-AECD-7BF79CE13A0A}"/>
              </a:ext>
            </a:extLst>
          </p:cNvPr>
          <p:cNvSpPr>
            <a:spLocks noGrp="1"/>
          </p:cNvSpPr>
          <p:nvPr>
            <p:ph type="sldNum" sz="quarter" idx="11"/>
          </p:nvPr>
        </p:nvSpPr>
        <p:spPr bwMode="gray"/>
        <p:txBody>
          <a:bodyPr/>
          <a:lstStyle/>
          <a:p>
            <a:fld id="{0D1F56E0-B6F6-48D7-9539-F293D99B01ED}" type="slidenum">
              <a:rPr lang="en-US" smtClean="0"/>
              <a:pPr/>
              <a:t>‹#›</a:t>
            </a:fld>
            <a:endParaRPr lang="en-US"/>
          </a:p>
        </p:txBody>
      </p:sp>
    </p:spTree>
    <p:extLst>
      <p:ext uri="{BB962C8B-B14F-4D97-AF65-F5344CB8AC3E}">
        <p14:creationId xmlns:p14="http://schemas.microsoft.com/office/powerpoint/2010/main" val="1134793455"/>
      </p:ext>
    </p:extLst>
  </p:cSld>
  <p:clrMapOvr>
    <a:masterClrMapping/>
  </p:clrMapOvr>
  <p:extLst>
    <p:ext uri="{DCECCB84-F9BA-43D5-87BE-67443E8EF086}">
      <p15:sldGuideLst xmlns:p15="http://schemas.microsoft.com/office/powerpoint/2012/main">
        <p15:guide id="1" pos="235">
          <p15:clr>
            <a:srgbClr val="F26B43"/>
          </p15:clr>
        </p15:guide>
        <p15:guide id="2" orient="horz" pos="4201">
          <p15:clr>
            <a:srgbClr val="F26B43"/>
          </p15:clr>
        </p15:guide>
        <p15:guide id="3" pos="7447">
          <p15:clr>
            <a:srgbClr val="F26B43"/>
          </p15:clr>
        </p15:guide>
        <p15:guide id="4" orient="horz" pos="1049">
          <p15:clr>
            <a:srgbClr val="F26B43"/>
          </p15:clr>
        </p15:guide>
        <p15:guide id="6" pos="5224">
          <p15:clr>
            <a:srgbClr val="F26B43"/>
          </p15:clr>
        </p15:guide>
        <p15:guide id="7" pos="4952">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Fußzeilenplatzhalter 2" hidden="1">
            <a:extLst>
              <a:ext uri="{FF2B5EF4-FFF2-40B4-BE49-F238E27FC236}">
                <a16:creationId xmlns:a16="http://schemas.microsoft.com/office/drawing/2014/main" id="{153349F5-0F88-478F-BD24-7CC12F0F8981}"/>
              </a:ext>
            </a:extLst>
          </p:cNvPr>
          <p:cNvSpPr>
            <a:spLocks noGrp="1"/>
          </p:cNvSpPr>
          <p:nvPr>
            <p:ph type="ftr" sz="quarter" idx="10"/>
          </p:nvPr>
        </p:nvSpPr>
        <p:spPr>
          <a:xfrm rot="16200000">
            <a:off x="10021500" y="3555244"/>
            <a:ext cx="3960000" cy="180000"/>
          </a:xfrm>
        </p:spPr>
        <p:txBody>
          <a:bodyPr/>
          <a:lstStyle>
            <a:lvl1pPr>
              <a:defRPr>
                <a:noFill/>
              </a:defRPr>
            </a:lvl1pPr>
          </a:lstStyle>
          <a:p>
            <a:r>
              <a:rPr lang="en-US"/>
              <a:t>Footer of the presentation</a:t>
            </a:r>
          </a:p>
        </p:txBody>
      </p:sp>
      <p:sp>
        <p:nvSpPr>
          <p:cNvPr id="3" name="Foliennummernplatzhalter 4" hidden="1">
            <a:extLst>
              <a:ext uri="{FF2B5EF4-FFF2-40B4-BE49-F238E27FC236}">
                <a16:creationId xmlns:a16="http://schemas.microsoft.com/office/drawing/2014/main" id="{B161BC9F-4FD3-44B5-A344-A5EADC40A0ED}"/>
              </a:ext>
            </a:extLst>
          </p:cNvPr>
          <p:cNvSpPr>
            <a:spLocks noGrp="1"/>
          </p:cNvSpPr>
          <p:nvPr>
            <p:ph type="sldNum" sz="quarter" idx="11"/>
          </p:nvPr>
        </p:nvSpPr>
        <p:spPr>
          <a:xfrm rot="16200000">
            <a:off x="11785500" y="6363360"/>
            <a:ext cx="432000" cy="180000"/>
          </a:xfrm>
        </p:spPr>
        <p:txBody>
          <a:bodyPr/>
          <a:lstStyle>
            <a:lvl1pPr>
              <a:defRPr>
                <a:noFill/>
              </a:defRPr>
            </a:lvl1pPr>
          </a:lstStyle>
          <a:p>
            <a:fld id="{0D1F56E0-B6F6-48D7-9539-F293D99B01ED}" type="slidenum">
              <a:rPr lang="en-US" smtClean="0"/>
              <a:pPr/>
              <a:t>‹#›</a:t>
            </a:fld>
            <a:endParaRPr lang="en-US"/>
          </a:p>
        </p:txBody>
      </p:sp>
    </p:spTree>
    <p:extLst>
      <p:ext uri="{BB962C8B-B14F-4D97-AF65-F5344CB8AC3E}">
        <p14:creationId xmlns:p14="http://schemas.microsoft.com/office/powerpoint/2010/main" val="826492171"/>
      </p:ext>
    </p:extLst>
  </p:cSld>
  <p:clrMapOvr>
    <a:masterClrMapping/>
  </p:clrMapOvr>
  <p:extLst>
    <p:ext uri="{DCECCB84-F9BA-43D5-87BE-67443E8EF086}">
      <p15:sldGuideLst xmlns:p15="http://schemas.microsoft.com/office/powerpoint/2012/main">
        <p15:guide id="1" orient="horz" pos="4201">
          <p15:clr>
            <a:srgbClr val="F26B43"/>
          </p15:clr>
        </p15:guide>
        <p15:guide id="2" pos="122">
          <p15:clr>
            <a:srgbClr val="F26B43"/>
          </p15:clr>
        </p15:guide>
        <p15:guide id="3" pos="7447">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6350111" y="296756"/>
            <a:ext cx="5472112" cy="936000"/>
          </a:xfrm>
          <a:prstGeom prst="rect">
            <a:avLst/>
          </a:prstGeom>
        </p:spPr>
        <p:txBody>
          <a:bodyPr/>
          <a:lstStyle>
            <a:lvl1pPr>
              <a:defRPr/>
            </a:lvl1pPr>
          </a:lstStyle>
          <a:p>
            <a:r>
              <a:rPr lang="zh-CN" altLang="en-US"/>
              <a:t>单击此处编辑母版标题样式</a:t>
            </a:r>
            <a:endParaRPr lang="en-US"/>
          </a:p>
        </p:txBody>
      </p:sp>
      <p:sp>
        <p:nvSpPr>
          <p:cNvPr id="3" name="Inhaltsplatzhalter 2"/>
          <p:cNvSpPr>
            <a:spLocks noGrp="1"/>
          </p:cNvSpPr>
          <p:nvPr>
            <p:ph idx="1" hasCustomPrompt="1"/>
          </p:nvPr>
        </p:nvSpPr>
        <p:spPr bwMode="gray">
          <a:xfrm>
            <a:off x="6350111" y="1665288"/>
            <a:ext cx="5472112" cy="50038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Subline First Level</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9" name="Picture Placeholder 6">
            <a:extLst>
              <a:ext uri="{FF2B5EF4-FFF2-40B4-BE49-F238E27FC236}">
                <a16:creationId xmlns:a16="http://schemas.microsoft.com/office/drawing/2014/main" id="{CCBD7D10-A88A-4B37-BD54-6126B883FA84}"/>
              </a:ext>
            </a:extLst>
          </p:cNvPr>
          <p:cNvSpPr>
            <a:spLocks noGrp="1"/>
          </p:cNvSpPr>
          <p:nvPr>
            <p:ph type="pic" sz="quarter" idx="10"/>
          </p:nvPr>
        </p:nvSpPr>
        <p:spPr bwMode="gray">
          <a:xfrm>
            <a:off x="0" y="0"/>
            <a:ext cx="5845175" cy="6858000"/>
          </a:xfrm>
          <a:blipFill>
            <a:blip r:embed="rId2"/>
            <a:stretch>
              <a:fillRect/>
            </a:stretch>
          </a:blipFill>
        </p:spPr>
        <p:txBody>
          <a:bodyPr tIns="0" bIns="792000" anchor="ctr"/>
          <a:lstStyle>
            <a:lvl1pPr algn="ctr">
              <a:defRPr sz="1200"/>
            </a:lvl1pPr>
          </a:lstStyle>
          <a:p>
            <a:r>
              <a:rPr lang="zh-CN" altLang="en-US"/>
              <a:t>单击图标添加图片</a:t>
            </a:r>
            <a:endParaRPr lang="en-GB"/>
          </a:p>
        </p:txBody>
      </p:sp>
      <p:pic>
        <p:nvPicPr>
          <p:cNvPr id="5" name="Grafik 64">
            <a:extLst>
              <a:ext uri="{FF2B5EF4-FFF2-40B4-BE49-F238E27FC236}">
                <a16:creationId xmlns:a16="http://schemas.microsoft.com/office/drawing/2014/main" id="{CF2F958B-6D50-47C8-B745-53A57EFC75A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rot="16200000">
            <a:off x="11547102" y="335844"/>
            <a:ext cx="932160" cy="381473"/>
          </a:xfrm>
          <a:prstGeom prst="rect">
            <a:avLst/>
          </a:prstGeom>
        </p:spPr>
      </p:pic>
      <p:sp>
        <p:nvSpPr>
          <p:cNvPr id="6" name="Footer Placeholder 3">
            <a:extLst>
              <a:ext uri="{FF2B5EF4-FFF2-40B4-BE49-F238E27FC236}">
                <a16:creationId xmlns:a16="http://schemas.microsoft.com/office/drawing/2014/main" id="{E47444D1-F03D-4433-AF96-E93AA35425CD}"/>
              </a:ext>
            </a:extLst>
          </p:cNvPr>
          <p:cNvSpPr>
            <a:spLocks noGrp="1"/>
          </p:cNvSpPr>
          <p:nvPr>
            <p:ph type="ftr" sz="quarter" idx="11"/>
          </p:nvPr>
        </p:nvSpPr>
        <p:spPr bwMode="gray">
          <a:xfrm rot="16200000">
            <a:off x="10021500" y="3555244"/>
            <a:ext cx="3960000" cy="180000"/>
          </a:xfrm>
        </p:spPr>
        <p:txBody>
          <a:bodyPr/>
          <a:lstStyle/>
          <a:p>
            <a:r>
              <a:rPr lang="en-US"/>
              <a:t>Footer of the presentation</a:t>
            </a:r>
          </a:p>
        </p:txBody>
      </p:sp>
      <p:sp>
        <p:nvSpPr>
          <p:cNvPr id="7" name="Slide Number Placeholder 6">
            <a:extLst>
              <a:ext uri="{FF2B5EF4-FFF2-40B4-BE49-F238E27FC236}">
                <a16:creationId xmlns:a16="http://schemas.microsoft.com/office/drawing/2014/main" id="{EC69EF62-812E-4749-95EA-693600D85A7C}"/>
              </a:ext>
            </a:extLst>
          </p:cNvPr>
          <p:cNvSpPr>
            <a:spLocks noGrp="1"/>
          </p:cNvSpPr>
          <p:nvPr>
            <p:ph type="sldNum" sz="quarter" idx="12"/>
          </p:nvPr>
        </p:nvSpPr>
        <p:spPr bwMode="gray">
          <a:xfrm rot="16200000">
            <a:off x="11785500" y="6363360"/>
            <a:ext cx="432000" cy="180000"/>
          </a:xfrm>
        </p:spPr>
        <p:txBody>
          <a:bodyPr/>
          <a:lstStyle/>
          <a:p>
            <a:fld id="{0D1F56E0-B6F6-48D7-9539-F293D99B01ED}" type="slidenum">
              <a:rPr lang="en-US" smtClean="0"/>
              <a:pPr/>
              <a:t>‹#›</a:t>
            </a:fld>
            <a:endParaRPr lang="en-US"/>
          </a:p>
        </p:txBody>
      </p:sp>
      <p:sp>
        <p:nvSpPr>
          <p:cNvPr id="11" name="Textfeld 11">
            <a:extLst>
              <a:ext uri="{FF2B5EF4-FFF2-40B4-BE49-F238E27FC236}">
                <a16:creationId xmlns:a16="http://schemas.microsoft.com/office/drawing/2014/main" id="{68C67141-01CA-4424-9766-725E4D4D2339}"/>
              </a:ext>
            </a:extLst>
          </p:cNvPr>
          <p:cNvSpPr txBox="1">
            <a:spLocks noChangeArrowheads="1"/>
          </p:cNvSpPr>
          <p:nvPr userDrawn="1"/>
        </p:nvSpPr>
        <p:spPr bwMode="auto">
          <a:xfrm>
            <a:off x="-2291345" y="209164"/>
            <a:ext cx="2067146" cy="2672916"/>
          </a:xfrm>
          <a:prstGeom prst="rect">
            <a:avLst/>
          </a:prstGeom>
          <a:solidFill>
            <a:schemeClr val="bg1">
              <a:lumMod val="95000"/>
            </a:schemeClr>
          </a:solidFill>
          <a:ln>
            <a:solidFill>
              <a:srgbClr val="BFBFBF"/>
            </a:solidFill>
          </a:ln>
        </p:spPr>
        <p:txBody>
          <a:bodyPr wrap="square" lIns="35996" tIns="35996" rIns="35996" bIns="35996">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eaLnBrk="1" fontAlgn="base" hangingPunct="1">
              <a:spcBef>
                <a:spcPct val="0"/>
              </a:spcBef>
              <a:spcAft>
                <a:spcPct val="0"/>
              </a:spcAft>
            </a:pPr>
            <a:r>
              <a:rPr lang="en-US" sz="1100">
                <a:solidFill>
                  <a:schemeClr val="bg2"/>
                </a:solidFill>
                <a:latin typeface="+mn-lt"/>
                <a:cs typeface="Tahoma" charset="0"/>
              </a:rPr>
              <a:t>How to insert a photo?</a:t>
            </a:r>
            <a:endParaRPr lang="en-US" sz="1100">
              <a:latin typeface="+mn-lt"/>
              <a:cs typeface="Tahoma" charset="0"/>
            </a:endParaRPr>
          </a:p>
          <a:p>
            <a:pPr eaLnBrk="1" fontAlgn="base" hangingPunct="1">
              <a:spcBef>
                <a:spcPct val="0"/>
              </a:spcBef>
              <a:spcAft>
                <a:spcPct val="0"/>
              </a:spcAft>
            </a:pPr>
            <a:r>
              <a:rPr lang="en-US" sz="1100">
                <a:latin typeface="+mn-lt"/>
                <a:cs typeface="Tahoma" charset="0"/>
              </a:rPr>
              <a:t>Click the icon to add a picture from a file, or open the Cumulus Browser and select an image, click on the placeholder, and click insert in the Cumulus Browser. The image will be inserted to fit the size of the placeholder. </a:t>
            </a:r>
          </a:p>
          <a:p>
            <a:pPr eaLnBrk="1" fontAlgn="base" hangingPunct="1">
              <a:spcBef>
                <a:spcPct val="0"/>
              </a:spcBef>
              <a:spcAft>
                <a:spcPct val="0"/>
              </a:spcAft>
            </a:pPr>
            <a:endParaRPr lang="en-US" sz="1100">
              <a:latin typeface="+mn-lt"/>
              <a:cs typeface="Tahoma" charset="0"/>
            </a:endParaRPr>
          </a:p>
          <a:p>
            <a:pPr eaLnBrk="1" fontAlgn="base" hangingPunct="1">
              <a:spcBef>
                <a:spcPct val="0"/>
              </a:spcBef>
              <a:spcAft>
                <a:spcPct val="0"/>
              </a:spcAft>
            </a:pPr>
            <a:r>
              <a:rPr lang="en-US" sz="1100">
                <a:solidFill>
                  <a:schemeClr val="bg2"/>
                </a:solidFill>
                <a:latin typeface="+mn-lt"/>
                <a:cs typeface="Tahoma" charset="0"/>
              </a:rPr>
              <a:t>Want to customize the image section? </a:t>
            </a:r>
          </a:p>
          <a:p>
            <a:pPr eaLnBrk="1" fontAlgn="base" hangingPunct="1">
              <a:spcBef>
                <a:spcPct val="0"/>
              </a:spcBef>
              <a:spcAft>
                <a:spcPct val="0"/>
              </a:spcAft>
            </a:pPr>
            <a:r>
              <a:rPr lang="en-US" sz="1100">
                <a:latin typeface="+mn-lt"/>
                <a:cs typeface="Tahoma" charset="0"/>
              </a:rPr>
              <a:t>Select the image, right-click and choose </a:t>
            </a:r>
            <a:r>
              <a:rPr lang="en-US" sz="1100" i="1">
                <a:latin typeface="+mn-lt"/>
                <a:cs typeface="Tahoma" charset="0"/>
              </a:rPr>
              <a:t>crop</a:t>
            </a:r>
            <a:r>
              <a:rPr lang="en-US" sz="1100">
                <a:latin typeface="+mn-lt"/>
                <a:cs typeface="Tahoma" charset="0"/>
              </a:rPr>
              <a:t>. Now you can select the image section to be shown. </a:t>
            </a:r>
            <a:endParaRPr lang="en-US" sz="1000">
              <a:latin typeface="+mn-lt"/>
              <a:cs typeface="Tahoma" charset="0"/>
            </a:endParaRPr>
          </a:p>
        </p:txBody>
      </p:sp>
    </p:spTree>
    <p:extLst>
      <p:ext uri="{BB962C8B-B14F-4D97-AF65-F5344CB8AC3E}">
        <p14:creationId xmlns:p14="http://schemas.microsoft.com/office/powerpoint/2010/main" val="2898783244"/>
      </p:ext>
    </p:extLst>
  </p:cSld>
  <p:clrMapOvr>
    <a:masterClrMapping/>
  </p:clrMapOvr>
  <p:extLst>
    <p:ext uri="{DCECCB84-F9BA-43D5-87BE-67443E8EF086}">
      <p15:sldGuideLst xmlns:p15="http://schemas.microsoft.com/office/powerpoint/2012/main">
        <p15:guide id="1" orient="horz" pos="4201">
          <p15:clr>
            <a:srgbClr val="F26B43"/>
          </p15:clr>
        </p15:guide>
        <p15:guide id="3" pos="7447">
          <p15:clr>
            <a:srgbClr val="F26B43"/>
          </p15:clr>
        </p15:guide>
        <p15:guide id="4" orient="horz" pos="1049">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7" name="Fußzeilenplatzhalter 2" hidden="1">
            <a:extLst>
              <a:ext uri="{FF2B5EF4-FFF2-40B4-BE49-F238E27FC236}">
                <a16:creationId xmlns:a16="http://schemas.microsoft.com/office/drawing/2014/main" id="{A231FFC3-A87B-463D-A2F1-672BBC4D611C}"/>
              </a:ext>
            </a:extLst>
          </p:cNvPr>
          <p:cNvSpPr>
            <a:spLocks noGrp="1"/>
          </p:cNvSpPr>
          <p:nvPr>
            <p:ph type="ftr" sz="quarter" idx="11"/>
          </p:nvPr>
        </p:nvSpPr>
        <p:spPr>
          <a:xfrm rot="16200000">
            <a:off x="10021500" y="3555244"/>
            <a:ext cx="3960000" cy="180000"/>
          </a:xfrm>
        </p:spPr>
        <p:txBody>
          <a:bodyPr/>
          <a:lstStyle>
            <a:lvl1pPr>
              <a:defRPr>
                <a:noFill/>
              </a:defRPr>
            </a:lvl1pPr>
          </a:lstStyle>
          <a:p>
            <a:r>
              <a:rPr lang="en-US"/>
              <a:t>Footer of the presentation</a:t>
            </a:r>
          </a:p>
        </p:txBody>
      </p:sp>
      <p:sp>
        <p:nvSpPr>
          <p:cNvPr id="8" name="Foliennummernplatzhalter 4" hidden="1">
            <a:extLst>
              <a:ext uri="{FF2B5EF4-FFF2-40B4-BE49-F238E27FC236}">
                <a16:creationId xmlns:a16="http://schemas.microsoft.com/office/drawing/2014/main" id="{870AA669-08F6-427C-95AB-9FE5A80A5FAD}"/>
              </a:ext>
            </a:extLst>
          </p:cNvPr>
          <p:cNvSpPr>
            <a:spLocks noGrp="1"/>
          </p:cNvSpPr>
          <p:nvPr>
            <p:ph type="sldNum" sz="quarter" idx="12"/>
          </p:nvPr>
        </p:nvSpPr>
        <p:spPr>
          <a:xfrm rot="16200000">
            <a:off x="11785500" y="6363360"/>
            <a:ext cx="432000" cy="180000"/>
          </a:xfrm>
        </p:spPr>
        <p:txBody>
          <a:bodyPr/>
          <a:lstStyle>
            <a:lvl1pPr>
              <a:defRPr>
                <a:noFill/>
              </a:defRPr>
            </a:lvl1pPr>
          </a:lstStyle>
          <a:p>
            <a:fld id="{0D1F56E0-B6F6-48D7-9539-F293D99B01ED}" type="slidenum">
              <a:rPr lang="en-US" smtClean="0"/>
              <a:pPr/>
              <a:t>‹#›</a:t>
            </a:fld>
            <a:endParaRPr lang="en-US"/>
          </a:p>
        </p:txBody>
      </p:sp>
      <p:sp>
        <p:nvSpPr>
          <p:cNvPr id="2" name="Titel 1"/>
          <p:cNvSpPr>
            <a:spLocks noGrp="1"/>
          </p:cNvSpPr>
          <p:nvPr>
            <p:ph type="title"/>
          </p:nvPr>
        </p:nvSpPr>
        <p:spPr bwMode="gray">
          <a:xfrm>
            <a:off x="373063" y="296756"/>
            <a:ext cx="5472112" cy="936000"/>
          </a:xfrm>
          <a:prstGeom prst="rect">
            <a:avLst/>
          </a:prstGeom>
        </p:spPr>
        <p:txBody>
          <a:bodyPr/>
          <a:lstStyle>
            <a:lvl1pPr>
              <a:defRPr/>
            </a:lvl1pPr>
          </a:lstStyle>
          <a:p>
            <a:r>
              <a:rPr lang="zh-CN" altLang="en-US"/>
              <a:t>单击此处编辑母版标题样式</a:t>
            </a:r>
            <a:endParaRPr lang="en-US"/>
          </a:p>
        </p:txBody>
      </p:sp>
      <p:sp>
        <p:nvSpPr>
          <p:cNvPr id="3" name="Inhaltsplatzhalter 2"/>
          <p:cNvSpPr>
            <a:spLocks noGrp="1"/>
          </p:cNvSpPr>
          <p:nvPr>
            <p:ph idx="1" hasCustomPrompt="1"/>
          </p:nvPr>
        </p:nvSpPr>
        <p:spPr bwMode="gray">
          <a:xfrm>
            <a:off x="373063" y="1665288"/>
            <a:ext cx="5472112" cy="50038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Subline First Level</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9" name="Picture Placeholder 6">
            <a:extLst>
              <a:ext uri="{FF2B5EF4-FFF2-40B4-BE49-F238E27FC236}">
                <a16:creationId xmlns:a16="http://schemas.microsoft.com/office/drawing/2014/main" id="{CCBD7D10-A88A-4B37-BD54-6126B883FA84}"/>
              </a:ext>
            </a:extLst>
          </p:cNvPr>
          <p:cNvSpPr>
            <a:spLocks noGrp="1"/>
          </p:cNvSpPr>
          <p:nvPr>
            <p:ph type="pic" sz="quarter" idx="10"/>
          </p:nvPr>
        </p:nvSpPr>
        <p:spPr bwMode="gray">
          <a:xfrm>
            <a:off x="6349999" y="0"/>
            <a:ext cx="5845175" cy="6858000"/>
          </a:xfrm>
          <a:blipFill dpi="0" rotWithShape="1">
            <a:blip r:embed="rId2"/>
            <a:srcRect/>
            <a:stretch>
              <a:fillRect/>
            </a:stretch>
          </a:blipFill>
        </p:spPr>
        <p:txBody>
          <a:bodyPr tIns="0" bIns="792000" anchor="ctr"/>
          <a:lstStyle>
            <a:lvl1pPr algn="ctr">
              <a:defRPr sz="1200"/>
            </a:lvl1pPr>
          </a:lstStyle>
          <a:p>
            <a:r>
              <a:rPr lang="zh-CN" altLang="en-US"/>
              <a:t>单击图标添加图片</a:t>
            </a:r>
            <a:endParaRPr lang="en-GB"/>
          </a:p>
        </p:txBody>
      </p:sp>
      <p:sp>
        <p:nvSpPr>
          <p:cNvPr id="6" name="Textfeld 11">
            <a:extLst>
              <a:ext uri="{FF2B5EF4-FFF2-40B4-BE49-F238E27FC236}">
                <a16:creationId xmlns:a16="http://schemas.microsoft.com/office/drawing/2014/main" id="{02F40016-5920-4A00-8AEA-3955763F5E6F}"/>
              </a:ext>
            </a:extLst>
          </p:cNvPr>
          <p:cNvSpPr txBox="1">
            <a:spLocks noChangeArrowheads="1"/>
          </p:cNvSpPr>
          <p:nvPr userDrawn="1"/>
        </p:nvSpPr>
        <p:spPr bwMode="auto">
          <a:xfrm>
            <a:off x="-2291345" y="209164"/>
            <a:ext cx="2067146" cy="2672916"/>
          </a:xfrm>
          <a:prstGeom prst="rect">
            <a:avLst/>
          </a:prstGeom>
          <a:solidFill>
            <a:schemeClr val="bg1">
              <a:lumMod val="95000"/>
            </a:schemeClr>
          </a:solidFill>
          <a:ln>
            <a:solidFill>
              <a:srgbClr val="BFBFBF"/>
            </a:solidFill>
          </a:ln>
        </p:spPr>
        <p:txBody>
          <a:bodyPr wrap="square" lIns="35996" tIns="35996" rIns="35996" bIns="35996">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eaLnBrk="1" fontAlgn="base" hangingPunct="1">
              <a:spcBef>
                <a:spcPct val="0"/>
              </a:spcBef>
              <a:spcAft>
                <a:spcPct val="0"/>
              </a:spcAft>
            </a:pPr>
            <a:r>
              <a:rPr lang="en-US" sz="1100">
                <a:solidFill>
                  <a:schemeClr val="bg2"/>
                </a:solidFill>
                <a:latin typeface="+mn-lt"/>
                <a:cs typeface="Tahoma" charset="0"/>
              </a:rPr>
              <a:t>How to insert a photo?</a:t>
            </a:r>
            <a:endParaRPr lang="en-US" sz="1100">
              <a:latin typeface="+mn-lt"/>
              <a:cs typeface="Tahoma" charset="0"/>
            </a:endParaRPr>
          </a:p>
          <a:p>
            <a:pPr eaLnBrk="1" fontAlgn="base" hangingPunct="1">
              <a:spcBef>
                <a:spcPct val="0"/>
              </a:spcBef>
              <a:spcAft>
                <a:spcPct val="0"/>
              </a:spcAft>
            </a:pPr>
            <a:r>
              <a:rPr lang="en-US" sz="1100">
                <a:latin typeface="+mn-lt"/>
                <a:cs typeface="Tahoma" charset="0"/>
              </a:rPr>
              <a:t>Click the icon to add a picture from a file, or open the Cumulus Browser and select an image, click on the placeholder, and click insert in the Cumulus Browser. The image will be inserted to fit the size of the placeholder. </a:t>
            </a:r>
          </a:p>
          <a:p>
            <a:pPr eaLnBrk="1" fontAlgn="base" hangingPunct="1">
              <a:spcBef>
                <a:spcPct val="0"/>
              </a:spcBef>
              <a:spcAft>
                <a:spcPct val="0"/>
              </a:spcAft>
            </a:pPr>
            <a:endParaRPr lang="en-US" sz="1100">
              <a:latin typeface="+mn-lt"/>
              <a:cs typeface="Tahoma" charset="0"/>
            </a:endParaRPr>
          </a:p>
          <a:p>
            <a:pPr eaLnBrk="1" fontAlgn="base" hangingPunct="1">
              <a:spcBef>
                <a:spcPct val="0"/>
              </a:spcBef>
              <a:spcAft>
                <a:spcPct val="0"/>
              </a:spcAft>
            </a:pPr>
            <a:r>
              <a:rPr lang="en-US" sz="1100">
                <a:solidFill>
                  <a:schemeClr val="bg2"/>
                </a:solidFill>
                <a:latin typeface="+mn-lt"/>
                <a:cs typeface="Tahoma" charset="0"/>
              </a:rPr>
              <a:t>Want to customize the image section? </a:t>
            </a:r>
          </a:p>
          <a:p>
            <a:pPr eaLnBrk="1" fontAlgn="base" hangingPunct="1">
              <a:spcBef>
                <a:spcPct val="0"/>
              </a:spcBef>
              <a:spcAft>
                <a:spcPct val="0"/>
              </a:spcAft>
            </a:pPr>
            <a:r>
              <a:rPr lang="en-US" sz="1100">
                <a:latin typeface="+mn-lt"/>
                <a:cs typeface="Tahoma" charset="0"/>
              </a:rPr>
              <a:t>Select the image, right-click and choose </a:t>
            </a:r>
            <a:r>
              <a:rPr lang="en-US" sz="1100" i="1">
                <a:latin typeface="+mn-lt"/>
                <a:cs typeface="Tahoma" charset="0"/>
              </a:rPr>
              <a:t>crop</a:t>
            </a:r>
            <a:r>
              <a:rPr lang="en-US" sz="1100">
                <a:latin typeface="+mn-lt"/>
                <a:cs typeface="Tahoma" charset="0"/>
              </a:rPr>
              <a:t>. Now you can select the image section to be shown. </a:t>
            </a:r>
            <a:endParaRPr lang="en-US" sz="1000">
              <a:latin typeface="+mn-lt"/>
              <a:cs typeface="Tahoma" charset="0"/>
            </a:endParaRPr>
          </a:p>
        </p:txBody>
      </p:sp>
    </p:spTree>
    <p:extLst>
      <p:ext uri="{BB962C8B-B14F-4D97-AF65-F5344CB8AC3E}">
        <p14:creationId xmlns:p14="http://schemas.microsoft.com/office/powerpoint/2010/main" val="378525446"/>
      </p:ext>
    </p:extLst>
  </p:cSld>
  <p:clrMapOvr>
    <a:masterClrMapping/>
  </p:clrMapOvr>
  <p:extLst>
    <p:ext uri="{DCECCB84-F9BA-43D5-87BE-67443E8EF086}">
      <p15:sldGuideLst xmlns:p15="http://schemas.microsoft.com/office/powerpoint/2012/main">
        <p15:guide id="1" pos="235">
          <p15:clr>
            <a:srgbClr val="F26B43"/>
          </p15:clr>
        </p15:guide>
        <p15:guide id="2" orient="horz" pos="4201">
          <p15:clr>
            <a:srgbClr val="F26B43"/>
          </p15:clr>
        </p15:guide>
        <p15:guide id="3" orient="horz" pos="1049">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and two pictures">
    <p:spTree>
      <p:nvGrpSpPr>
        <p:cNvPr id="1" name=""/>
        <p:cNvGrpSpPr/>
        <p:nvPr/>
      </p:nvGrpSpPr>
      <p:grpSpPr>
        <a:xfrm>
          <a:off x="0" y="0"/>
          <a:ext cx="0" cy="0"/>
          <a:chOff x="0" y="0"/>
          <a:chExt cx="0" cy="0"/>
        </a:xfrm>
      </p:grpSpPr>
      <p:sp>
        <p:nvSpPr>
          <p:cNvPr id="8" name="Fußzeilenplatzhalter 2" hidden="1">
            <a:extLst>
              <a:ext uri="{FF2B5EF4-FFF2-40B4-BE49-F238E27FC236}">
                <a16:creationId xmlns:a16="http://schemas.microsoft.com/office/drawing/2014/main" id="{BBB3CA13-D5C4-4C47-923A-836A2D308CB7}"/>
              </a:ext>
            </a:extLst>
          </p:cNvPr>
          <p:cNvSpPr>
            <a:spLocks noGrp="1"/>
          </p:cNvSpPr>
          <p:nvPr>
            <p:ph type="ftr" sz="quarter" idx="12"/>
          </p:nvPr>
        </p:nvSpPr>
        <p:spPr>
          <a:xfrm rot="16200000">
            <a:off x="10021500" y="3555244"/>
            <a:ext cx="3960000" cy="180000"/>
          </a:xfrm>
        </p:spPr>
        <p:txBody>
          <a:bodyPr/>
          <a:lstStyle>
            <a:lvl1pPr>
              <a:defRPr>
                <a:noFill/>
              </a:defRPr>
            </a:lvl1pPr>
          </a:lstStyle>
          <a:p>
            <a:r>
              <a:rPr lang="en-US"/>
              <a:t>Footer of the presentation</a:t>
            </a:r>
          </a:p>
        </p:txBody>
      </p:sp>
      <p:sp>
        <p:nvSpPr>
          <p:cNvPr id="10" name="Foliennummernplatzhalter 4" hidden="1">
            <a:extLst>
              <a:ext uri="{FF2B5EF4-FFF2-40B4-BE49-F238E27FC236}">
                <a16:creationId xmlns:a16="http://schemas.microsoft.com/office/drawing/2014/main" id="{96102F33-1EC9-4917-AF83-B1088A56C9E6}"/>
              </a:ext>
            </a:extLst>
          </p:cNvPr>
          <p:cNvSpPr>
            <a:spLocks noGrp="1"/>
          </p:cNvSpPr>
          <p:nvPr>
            <p:ph type="sldNum" sz="quarter" idx="13"/>
          </p:nvPr>
        </p:nvSpPr>
        <p:spPr>
          <a:xfrm rot="16200000">
            <a:off x="11785500" y="6363360"/>
            <a:ext cx="432000" cy="180000"/>
          </a:xfrm>
        </p:spPr>
        <p:txBody>
          <a:bodyPr/>
          <a:lstStyle>
            <a:lvl1pPr>
              <a:defRPr>
                <a:noFill/>
              </a:defRPr>
            </a:lvl1pPr>
          </a:lstStyle>
          <a:p>
            <a:fld id="{0D1F56E0-B6F6-48D7-9539-F293D99B01ED}" type="slidenum">
              <a:rPr lang="en-US" smtClean="0"/>
              <a:pPr/>
              <a:t>‹#›</a:t>
            </a:fld>
            <a:endParaRPr lang="en-US"/>
          </a:p>
        </p:txBody>
      </p:sp>
      <p:sp>
        <p:nvSpPr>
          <p:cNvPr id="2" name="Titel 1"/>
          <p:cNvSpPr>
            <a:spLocks noGrp="1"/>
          </p:cNvSpPr>
          <p:nvPr>
            <p:ph type="title"/>
          </p:nvPr>
        </p:nvSpPr>
        <p:spPr bwMode="gray">
          <a:xfrm>
            <a:off x="373063" y="296756"/>
            <a:ext cx="5472112" cy="936000"/>
          </a:xfrm>
          <a:prstGeom prst="rect">
            <a:avLst/>
          </a:prstGeom>
        </p:spPr>
        <p:txBody>
          <a:bodyPr/>
          <a:lstStyle>
            <a:lvl1pPr>
              <a:defRPr/>
            </a:lvl1pPr>
          </a:lstStyle>
          <a:p>
            <a:r>
              <a:rPr lang="zh-CN" altLang="en-US"/>
              <a:t>单击此处编辑母版标题样式</a:t>
            </a:r>
            <a:endParaRPr lang="en-US"/>
          </a:p>
        </p:txBody>
      </p:sp>
      <p:sp>
        <p:nvSpPr>
          <p:cNvPr id="3" name="Inhaltsplatzhalter 2"/>
          <p:cNvSpPr>
            <a:spLocks noGrp="1"/>
          </p:cNvSpPr>
          <p:nvPr>
            <p:ph idx="1" hasCustomPrompt="1"/>
          </p:nvPr>
        </p:nvSpPr>
        <p:spPr bwMode="gray">
          <a:xfrm>
            <a:off x="373063" y="1665288"/>
            <a:ext cx="5472112" cy="50038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Subline First Level</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5" name="Picture Placeholder 6">
            <a:extLst>
              <a:ext uri="{FF2B5EF4-FFF2-40B4-BE49-F238E27FC236}">
                <a16:creationId xmlns:a16="http://schemas.microsoft.com/office/drawing/2014/main" id="{95712135-8935-4004-A94C-8AB8ABC1418B}"/>
              </a:ext>
            </a:extLst>
          </p:cNvPr>
          <p:cNvSpPr>
            <a:spLocks noGrp="1"/>
          </p:cNvSpPr>
          <p:nvPr>
            <p:ph type="pic" sz="quarter" idx="11"/>
          </p:nvPr>
        </p:nvSpPr>
        <p:spPr bwMode="gray">
          <a:xfrm>
            <a:off x="6350000" y="3402000"/>
            <a:ext cx="5845175" cy="3456000"/>
          </a:xfrm>
          <a:blipFill>
            <a:blip r:embed="rId2"/>
            <a:stretch>
              <a:fillRect/>
            </a:stretch>
          </a:blipFill>
        </p:spPr>
        <p:txBody>
          <a:bodyPr tIns="0" bIns="792000" anchor="ctr"/>
          <a:lstStyle>
            <a:lvl1pPr algn="ctr">
              <a:defRPr sz="1200"/>
            </a:lvl1pPr>
          </a:lstStyle>
          <a:p>
            <a:r>
              <a:rPr lang="zh-CN" altLang="en-US"/>
              <a:t>单击图标添加图片</a:t>
            </a:r>
            <a:endParaRPr lang="en-GB"/>
          </a:p>
        </p:txBody>
      </p:sp>
      <p:sp>
        <p:nvSpPr>
          <p:cNvPr id="9" name="Picture Placeholder 6">
            <a:extLst>
              <a:ext uri="{FF2B5EF4-FFF2-40B4-BE49-F238E27FC236}">
                <a16:creationId xmlns:a16="http://schemas.microsoft.com/office/drawing/2014/main" id="{CCBD7D10-A88A-4B37-BD54-6126B883FA84}"/>
              </a:ext>
            </a:extLst>
          </p:cNvPr>
          <p:cNvSpPr>
            <a:spLocks noGrp="1"/>
          </p:cNvSpPr>
          <p:nvPr>
            <p:ph type="pic" sz="quarter" idx="10"/>
          </p:nvPr>
        </p:nvSpPr>
        <p:spPr bwMode="gray">
          <a:xfrm>
            <a:off x="6349999" y="0"/>
            <a:ext cx="5845175" cy="3420000"/>
          </a:xfrm>
          <a:blipFill>
            <a:blip r:embed="rId2"/>
            <a:stretch>
              <a:fillRect/>
            </a:stretch>
          </a:blipFill>
        </p:spPr>
        <p:txBody>
          <a:bodyPr tIns="0" bIns="792000" anchor="ctr"/>
          <a:lstStyle>
            <a:lvl1pPr algn="ctr">
              <a:defRPr sz="1200"/>
            </a:lvl1pPr>
          </a:lstStyle>
          <a:p>
            <a:r>
              <a:rPr lang="zh-CN" altLang="en-US"/>
              <a:t>单击图标添加图片</a:t>
            </a:r>
            <a:endParaRPr lang="en-GB"/>
          </a:p>
        </p:txBody>
      </p:sp>
      <p:sp>
        <p:nvSpPr>
          <p:cNvPr id="7" name="Textfeld 11">
            <a:extLst>
              <a:ext uri="{FF2B5EF4-FFF2-40B4-BE49-F238E27FC236}">
                <a16:creationId xmlns:a16="http://schemas.microsoft.com/office/drawing/2014/main" id="{CF4ED945-1A11-4F46-8602-4D42F3E806AC}"/>
              </a:ext>
            </a:extLst>
          </p:cNvPr>
          <p:cNvSpPr txBox="1">
            <a:spLocks noChangeArrowheads="1"/>
          </p:cNvSpPr>
          <p:nvPr userDrawn="1"/>
        </p:nvSpPr>
        <p:spPr bwMode="auto">
          <a:xfrm>
            <a:off x="-2291345" y="209164"/>
            <a:ext cx="2067146" cy="2672916"/>
          </a:xfrm>
          <a:prstGeom prst="rect">
            <a:avLst/>
          </a:prstGeom>
          <a:solidFill>
            <a:schemeClr val="bg1">
              <a:lumMod val="95000"/>
            </a:schemeClr>
          </a:solidFill>
          <a:ln>
            <a:solidFill>
              <a:srgbClr val="BFBFBF"/>
            </a:solidFill>
          </a:ln>
        </p:spPr>
        <p:txBody>
          <a:bodyPr wrap="square" lIns="35996" tIns="35996" rIns="35996" bIns="35996">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eaLnBrk="1" fontAlgn="base" hangingPunct="1">
              <a:spcBef>
                <a:spcPct val="0"/>
              </a:spcBef>
              <a:spcAft>
                <a:spcPct val="0"/>
              </a:spcAft>
            </a:pPr>
            <a:r>
              <a:rPr lang="en-US" sz="1100">
                <a:solidFill>
                  <a:schemeClr val="bg2"/>
                </a:solidFill>
                <a:latin typeface="+mn-lt"/>
                <a:cs typeface="Tahoma" charset="0"/>
              </a:rPr>
              <a:t>How to insert a photo?</a:t>
            </a:r>
            <a:endParaRPr lang="en-US" sz="1100">
              <a:latin typeface="+mn-lt"/>
              <a:cs typeface="Tahoma" charset="0"/>
            </a:endParaRPr>
          </a:p>
          <a:p>
            <a:pPr eaLnBrk="1" fontAlgn="base" hangingPunct="1">
              <a:spcBef>
                <a:spcPct val="0"/>
              </a:spcBef>
              <a:spcAft>
                <a:spcPct val="0"/>
              </a:spcAft>
            </a:pPr>
            <a:r>
              <a:rPr lang="en-US" sz="1100">
                <a:latin typeface="+mn-lt"/>
                <a:cs typeface="Tahoma" charset="0"/>
              </a:rPr>
              <a:t>Click the icon to add a picture from a file, or open the Cumulus Browser and select an image, click on the placeholder, and click insert in the Cumulus Browser. The image will be inserted to fit the size of the placeholder. </a:t>
            </a:r>
          </a:p>
          <a:p>
            <a:pPr eaLnBrk="1" fontAlgn="base" hangingPunct="1">
              <a:spcBef>
                <a:spcPct val="0"/>
              </a:spcBef>
              <a:spcAft>
                <a:spcPct val="0"/>
              </a:spcAft>
            </a:pPr>
            <a:endParaRPr lang="en-US" sz="1100">
              <a:latin typeface="+mn-lt"/>
              <a:cs typeface="Tahoma" charset="0"/>
            </a:endParaRPr>
          </a:p>
          <a:p>
            <a:pPr eaLnBrk="1" fontAlgn="base" hangingPunct="1">
              <a:spcBef>
                <a:spcPct val="0"/>
              </a:spcBef>
              <a:spcAft>
                <a:spcPct val="0"/>
              </a:spcAft>
            </a:pPr>
            <a:r>
              <a:rPr lang="en-US" sz="1100">
                <a:solidFill>
                  <a:schemeClr val="bg2"/>
                </a:solidFill>
                <a:latin typeface="+mn-lt"/>
                <a:cs typeface="Tahoma" charset="0"/>
              </a:rPr>
              <a:t>Want to customize the image section? </a:t>
            </a:r>
          </a:p>
          <a:p>
            <a:pPr eaLnBrk="1" fontAlgn="base" hangingPunct="1">
              <a:spcBef>
                <a:spcPct val="0"/>
              </a:spcBef>
              <a:spcAft>
                <a:spcPct val="0"/>
              </a:spcAft>
            </a:pPr>
            <a:r>
              <a:rPr lang="en-US" sz="1100">
                <a:latin typeface="+mn-lt"/>
                <a:cs typeface="Tahoma" charset="0"/>
              </a:rPr>
              <a:t>Select the image, right-click and choose </a:t>
            </a:r>
            <a:r>
              <a:rPr lang="en-US" sz="1100" i="1">
                <a:latin typeface="+mn-lt"/>
                <a:cs typeface="Tahoma" charset="0"/>
              </a:rPr>
              <a:t>crop</a:t>
            </a:r>
            <a:r>
              <a:rPr lang="en-US" sz="1100">
                <a:latin typeface="+mn-lt"/>
                <a:cs typeface="Tahoma" charset="0"/>
              </a:rPr>
              <a:t>. Now you can select the image section to be shown. </a:t>
            </a:r>
            <a:endParaRPr lang="en-US" sz="1000">
              <a:latin typeface="+mn-lt"/>
              <a:cs typeface="Tahoma" charset="0"/>
            </a:endParaRPr>
          </a:p>
        </p:txBody>
      </p:sp>
    </p:spTree>
    <p:extLst>
      <p:ext uri="{BB962C8B-B14F-4D97-AF65-F5344CB8AC3E}">
        <p14:creationId xmlns:p14="http://schemas.microsoft.com/office/powerpoint/2010/main" val="1885681277"/>
      </p:ext>
    </p:extLst>
  </p:cSld>
  <p:clrMapOvr>
    <a:masterClrMapping/>
  </p:clrMapOvr>
  <p:extLst>
    <p:ext uri="{DCECCB84-F9BA-43D5-87BE-67443E8EF086}">
      <p15:sldGuideLst xmlns:p15="http://schemas.microsoft.com/office/powerpoint/2012/main">
        <p15:guide id="1" orient="horz" pos="1049">
          <p15:clr>
            <a:srgbClr val="F26B43"/>
          </p15:clr>
        </p15:guide>
        <p15:guide id="2" pos="235">
          <p15:clr>
            <a:srgbClr val="F26B43"/>
          </p15:clr>
        </p15:guide>
        <p15:guide id="3" orient="horz" pos="420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and three pictures">
    <p:spTree>
      <p:nvGrpSpPr>
        <p:cNvPr id="1" name=""/>
        <p:cNvGrpSpPr/>
        <p:nvPr/>
      </p:nvGrpSpPr>
      <p:grpSpPr>
        <a:xfrm>
          <a:off x="0" y="0"/>
          <a:ext cx="0" cy="0"/>
          <a:chOff x="0" y="0"/>
          <a:chExt cx="0" cy="0"/>
        </a:xfrm>
      </p:grpSpPr>
      <p:sp>
        <p:nvSpPr>
          <p:cNvPr id="10" name="Fußzeilenplatzhalter 2" hidden="1">
            <a:extLst>
              <a:ext uri="{FF2B5EF4-FFF2-40B4-BE49-F238E27FC236}">
                <a16:creationId xmlns:a16="http://schemas.microsoft.com/office/drawing/2014/main" id="{373F9564-679F-4B53-BD0C-C799F6620EA4}"/>
              </a:ext>
            </a:extLst>
          </p:cNvPr>
          <p:cNvSpPr>
            <a:spLocks noGrp="1"/>
          </p:cNvSpPr>
          <p:nvPr>
            <p:ph type="ftr" sz="quarter" idx="13"/>
          </p:nvPr>
        </p:nvSpPr>
        <p:spPr>
          <a:xfrm rot="16200000">
            <a:off x="10021500" y="3555244"/>
            <a:ext cx="3960000" cy="180000"/>
          </a:xfrm>
        </p:spPr>
        <p:txBody>
          <a:bodyPr/>
          <a:lstStyle>
            <a:lvl1pPr>
              <a:defRPr>
                <a:noFill/>
              </a:defRPr>
            </a:lvl1pPr>
          </a:lstStyle>
          <a:p>
            <a:r>
              <a:rPr lang="en-US"/>
              <a:t>Footer of the presentation</a:t>
            </a:r>
          </a:p>
        </p:txBody>
      </p:sp>
      <p:sp>
        <p:nvSpPr>
          <p:cNvPr id="11" name="Foliennummernplatzhalter 4" hidden="1">
            <a:extLst>
              <a:ext uri="{FF2B5EF4-FFF2-40B4-BE49-F238E27FC236}">
                <a16:creationId xmlns:a16="http://schemas.microsoft.com/office/drawing/2014/main" id="{C0C8C804-233D-4AC3-9B47-9FCDC1BA4990}"/>
              </a:ext>
            </a:extLst>
          </p:cNvPr>
          <p:cNvSpPr>
            <a:spLocks noGrp="1"/>
          </p:cNvSpPr>
          <p:nvPr>
            <p:ph type="sldNum" sz="quarter" idx="14"/>
          </p:nvPr>
        </p:nvSpPr>
        <p:spPr>
          <a:xfrm rot="16200000">
            <a:off x="11785500" y="6363360"/>
            <a:ext cx="432000" cy="180000"/>
          </a:xfrm>
        </p:spPr>
        <p:txBody>
          <a:bodyPr/>
          <a:lstStyle>
            <a:lvl1pPr>
              <a:defRPr>
                <a:noFill/>
              </a:defRPr>
            </a:lvl1pPr>
          </a:lstStyle>
          <a:p>
            <a:fld id="{0D1F56E0-B6F6-48D7-9539-F293D99B01ED}" type="slidenum">
              <a:rPr lang="en-US" smtClean="0"/>
              <a:pPr/>
              <a:t>‹#›</a:t>
            </a:fld>
            <a:endParaRPr lang="en-US"/>
          </a:p>
        </p:txBody>
      </p:sp>
      <p:sp>
        <p:nvSpPr>
          <p:cNvPr id="2" name="Titel 1"/>
          <p:cNvSpPr>
            <a:spLocks noGrp="1"/>
          </p:cNvSpPr>
          <p:nvPr>
            <p:ph type="title"/>
          </p:nvPr>
        </p:nvSpPr>
        <p:spPr bwMode="gray">
          <a:xfrm>
            <a:off x="373063" y="296756"/>
            <a:ext cx="5472112" cy="936000"/>
          </a:xfrm>
          <a:prstGeom prst="rect">
            <a:avLst/>
          </a:prstGeom>
        </p:spPr>
        <p:txBody>
          <a:bodyPr/>
          <a:lstStyle>
            <a:lvl1pPr>
              <a:defRPr/>
            </a:lvl1pPr>
          </a:lstStyle>
          <a:p>
            <a:r>
              <a:rPr lang="zh-CN" altLang="en-US"/>
              <a:t>单击此处编辑母版标题样式</a:t>
            </a:r>
            <a:endParaRPr lang="en-US"/>
          </a:p>
        </p:txBody>
      </p:sp>
      <p:sp>
        <p:nvSpPr>
          <p:cNvPr id="3" name="Inhaltsplatzhalter 2"/>
          <p:cNvSpPr>
            <a:spLocks noGrp="1"/>
          </p:cNvSpPr>
          <p:nvPr>
            <p:ph idx="1" hasCustomPrompt="1"/>
          </p:nvPr>
        </p:nvSpPr>
        <p:spPr bwMode="gray">
          <a:xfrm>
            <a:off x="373063" y="1665288"/>
            <a:ext cx="5472112" cy="50038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Subline First Level</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9" name="Picture Placeholder 6">
            <a:extLst>
              <a:ext uri="{FF2B5EF4-FFF2-40B4-BE49-F238E27FC236}">
                <a16:creationId xmlns:a16="http://schemas.microsoft.com/office/drawing/2014/main" id="{CCBD7D10-A88A-4B37-BD54-6126B883FA84}"/>
              </a:ext>
            </a:extLst>
          </p:cNvPr>
          <p:cNvSpPr>
            <a:spLocks noGrp="1"/>
          </p:cNvSpPr>
          <p:nvPr>
            <p:ph type="pic" sz="quarter" idx="10"/>
          </p:nvPr>
        </p:nvSpPr>
        <p:spPr bwMode="gray">
          <a:xfrm>
            <a:off x="6349999" y="0"/>
            <a:ext cx="5845175" cy="2304000"/>
          </a:xfrm>
          <a:blipFill>
            <a:blip r:embed="rId2"/>
            <a:stretch>
              <a:fillRect/>
            </a:stretch>
          </a:blipFill>
        </p:spPr>
        <p:txBody>
          <a:bodyPr tIns="0" bIns="792000" anchor="ctr"/>
          <a:lstStyle>
            <a:lvl1pPr algn="ctr">
              <a:defRPr sz="1200"/>
            </a:lvl1pPr>
          </a:lstStyle>
          <a:p>
            <a:r>
              <a:rPr lang="zh-CN" altLang="en-US"/>
              <a:t>单击图标添加图片</a:t>
            </a:r>
            <a:endParaRPr lang="en-GB"/>
          </a:p>
        </p:txBody>
      </p:sp>
      <p:sp>
        <p:nvSpPr>
          <p:cNvPr id="5" name="Picture Placeholder 6">
            <a:extLst>
              <a:ext uri="{FF2B5EF4-FFF2-40B4-BE49-F238E27FC236}">
                <a16:creationId xmlns:a16="http://schemas.microsoft.com/office/drawing/2014/main" id="{95712135-8935-4004-A94C-8AB8ABC1418B}"/>
              </a:ext>
            </a:extLst>
          </p:cNvPr>
          <p:cNvSpPr>
            <a:spLocks noGrp="1"/>
          </p:cNvSpPr>
          <p:nvPr>
            <p:ph type="pic" sz="quarter" idx="11"/>
          </p:nvPr>
        </p:nvSpPr>
        <p:spPr bwMode="gray">
          <a:xfrm>
            <a:off x="6350000" y="2277000"/>
            <a:ext cx="5845175" cy="2304000"/>
          </a:xfrm>
          <a:blipFill>
            <a:blip r:embed="rId2"/>
            <a:stretch>
              <a:fillRect/>
            </a:stretch>
          </a:blipFill>
        </p:spPr>
        <p:txBody>
          <a:bodyPr tIns="0" bIns="792000" anchor="ctr"/>
          <a:lstStyle>
            <a:lvl1pPr algn="ctr">
              <a:defRPr sz="1200"/>
            </a:lvl1pPr>
          </a:lstStyle>
          <a:p>
            <a:r>
              <a:rPr lang="zh-CN" altLang="en-US"/>
              <a:t>单击图标添加图片</a:t>
            </a:r>
            <a:endParaRPr lang="en-GB"/>
          </a:p>
        </p:txBody>
      </p:sp>
      <p:sp>
        <p:nvSpPr>
          <p:cNvPr id="6" name="Picture Placeholder 6">
            <a:extLst>
              <a:ext uri="{FF2B5EF4-FFF2-40B4-BE49-F238E27FC236}">
                <a16:creationId xmlns:a16="http://schemas.microsoft.com/office/drawing/2014/main" id="{847A289C-F9DA-4653-B61E-7574F4C1F028}"/>
              </a:ext>
            </a:extLst>
          </p:cNvPr>
          <p:cNvSpPr>
            <a:spLocks noGrp="1"/>
          </p:cNvSpPr>
          <p:nvPr>
            <p:ph type="pic" sz="quarter" idx="12"/>
          </p:nvPr>
        </p:nvSpPr>
        <p:spPr bwMode="gray">
          <a:xfrm>
            <a:off x="6350000" y="4554000"/>
            <a:ext cx="5845175" cy="2304000"/>
          </a:xfrm>
          <a:blipFill>
            <a:blip r:embed="rId2"/>
            <a:stretch>
              <a:fillRect/>
            </a:stretch>
          </a:blipFill>
        </p:spPr>
        <p:txBody>
          <a:bodyPr tIns="0" bIns="792000" anchor="ctr"/>
          <a:lstStyle>
            <a:lvl1pPr algn="ctr">
              <a:defRPr sz="1200"/>
            </a:lvl1pPr>
          </a:lstStyle>
          <a:p>
            <a:r>
              <a:rPr lang="zh-CN" altLang="en-US"/>
              <a:t>单击图标添加图片</a:t>
            </a:r>
            <a:endParaRPr lang="en-GB"/>
          </a:p>
        </p:txBody>
      </p:sp>
      <p:sp>
        <p:nvSpPr>
          <p:cNvPr id="8" name="Textfeld 11">
            <a:extLst>
              <a:ext uri="{FF2B5EF4-FFF2-40B4-BE49-F238E27FC236}">
                <a16:creationId xmlns:a16="http://schemas.microsoft.com/office/drawing/2014/main" id="{90851BF1-5E5B-476C-BDF0-DECD30579715}"/>
              </a:ext>
            </a:extLst>
          </p:cNvPr>
          <p:cNvSpPr txBox="1">
            <a:spLocks noChangeArrowheads="1"/>
          </p:cNvSpPr>
          <p:nvPr userDrawn="1"/>
        </p:nvSpPr>
        <p:spPr bwMode="auto">
          <a:xfrm>
            <a:off x="-2291345" y="209164"/>
            <a:ext cx="2067146" cy="2672916"/>
          </a:xfrm>
          <a:prstGeom prst="rect">
            <a:avLst/>
          </a:prstGeom>
          <a:solidFill>
            <a:schemeClr val="bg1">
              <a:lumMod val="95000"/>
            </a:schemeClr>
          </a:solidFill>
          <a:ln>
            <a:solidFill>
              <a:srgbClr val="BFBFBF"/>
            </a:solidFill>
          </a:ln>
        </p:spPr>
        <p:txBody>
          <a:bodyPr wrap="square" lIns="35996" tIns="35996" rIns="35996" bIns="35996">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eaLnBrk="1" fontAlgn="base" hangingPunct="1">
              <a:spcBef>
                <a:spcPct val="0"/>
              </a:spcBef>
              <a:spcAft>
                <a:spcPct val="0"/>
              </a:spcAft>
            </a:pPr>
            <a:r>
              <a:rPr lang="en-US" sz="1100">
                <a:solidFill>
                  <a:schemeClr val="bg2"/>
                </a:solidFill>
                <a:latin typeface="+mn-lt"/>
                <a:cs typeface="Tahoma" charset="0"/>
              </a:rPr>
              <a:t>How to insert a photo?</a:t>
            </a:r>
            <a:endParaRPr lang="en-US" sz="1100">
              <a:latin typeface="+mn-lt"/>
              <a:cs typeface="Tahoma" charset="0"/>
            </a:endParaRPr>
          </a:p>
          <a:p>
            <a:pPr eaLnBrk="1" fontAlgn="base" hangingPunct="1">
              <a:spcBef>
                <a:spcPct val="0"/>
              </a:spcBef>
              <a:spcAft>
                <a:spcPct val="0"/>
              </a:spcAft>
            </a:pPr>
            <a:r>
              <a:rPr lang="en-US" sz="1100">
                <a:latin typeface="+mn-lt"/>
                <a:cs typeface="Tahoma" charset="0"/>
              </a:rPr>
              <a:t>Click the icon to add a picture from a file, or open the Cumulus Browser and select an image, click on the placeholder, and click insert in the Cumulus Browser. The image will be inserted to fit the size of the placeholder. </a:t>
            </a:r>
          </a:p>
          <a:p>
            <a:pPr eaLnBrk="1" fontAlgn="base" hangingPunct="1">
              <a:spcBef>
                <a:spcPct val="0"/>
              </a:spcBef>
              <a:spcAft>
                <a:spcPct val="0"/>
              </a:spcAft>
            </a:pPr>
            <a:endParaRPr lang="en-US" sz="1100">
              <a:latin typeface="+mn-lt"/>
              <a:cs typeface="Tahoma" charset="0"/>
            </a:endParaRPr>
          </a:p>
          <a:p>
            <a:pPr eaLnBrk="1" fontAlgn="base" hangingPunct="1">
              <a:spcBef>
                <a:spcPct val="0"/>
              </a:spcBef>
              <a:spcAft>
                <a:spcPct val="0"/>
              </a:spcAft>
            </a:pPr>
            <a:r>
              <a:rPr lang="en-US" sz="1100">
                <a:solidFill>
                  <a:schemeClr val="bg2"/>
                </a:solidFill>
                <a:latin typeface="+mn-lt"/>
                <a:cs typeface="Tahoma" charset="0"/>
              </a:rPr>
              <a:t>Want to customize the image section? </a:t>
            </a:r>
          </a:p>
          <a:p>
            <a:pPr eaLnBrk="1" fontAlgn="base" hangingPunct="1">
              <a:spcBef>
                <a:spcPct val="0"/>
              </a:spcBef>
              <a:spcAft>
                <a:spcPct val="0"/>
              </a:spcAft>
            </a:pPr>
            <a:r>
              <a:rPr lang="en-US" sz="1100">
                <a:latin typeface="+mn-lt"/>
                <a:cs typeface="Tahoma" charset="0"/>
              </a:rPr>
              <a:t>Select the image, right-click and choose </a:t>
            </a:r>
            <a:r>
              <a:rPr lang="en-US" sz="1100" i="1">
                <a:latin typeface="+mn-lt"/>
                <a:cs typeface="Tahoma" charset="0"/>
              </a:rPr>
              <a:t>crop</a:t>
            </a:r>
            <a:r>
              <a:rPr lang="en-US" sz="1100">
                <a:latin typeface="+mn-lt"/>
                <a:cs typeface="Tahoma" charset="0"/>
              </a:rPr>
              <a:t>. Now you can select the image section to be shown. </a:t>
            </a:r>
            <a:endParaRPr lang="en-US" sz="1000">
              <a:latin typeface="+mn-lt"/>
              <a:cs typeface="Tahoma" charset="0"/>
            </a:endParaRPr>
          </a:p>
        </p:txBody>
      </p:sp>
    </p:spTree>
    <p:extLst>
      <p:ext uri="{BB962C8B-B14F-4D97-AF65-F5344CB8AC3E}">
        <p14:creationId xmlns:p14="http://schemas.microsoft.com/office/powerpoint/2010/main" val="3983619487"/>
      </p:ext>
    </p:extLst>
  </p:cSld>
  <p:clrMapOvr>
    <a:masterClrMapping/>
  </p:clrMapOvr>
  <p:extLst>
    <p:ext uri="{DCECCB84-F9BA-43D5-87BE-67443E8EF086}">
      <p15:sldGuideLst xmlns:p15="http://schemas.microsoft.com/office/powerpoint/2012/main">
        <p15:guide id="1" pos="235">
          <p15:clr>
            <a:srgbClr val="F26B43"/>
          </p15:clr>
        </p15:guide>
        <p15:guide id="2" orient="horz" pos="1049">
          <p15:clr>
            <a:srgbClr val="F26B43"/>
          </p15:clr>
        </p15:guide>
        <p15:guide id="3" orient="horz" pos="420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color">
    <p:spTree>
      <p:nvGrpSpPr>
        <p:cNvPr id="1" name=""/>
        <p:cNvGrpSpPr/>
        <p:nvPr/>
      </p:nvGrpSpPr>
      <p:grpSpPr>
        <a:xfrm>
          <a:off x="0" y="0"/>
          <a:ext cx="0" cy="0"/>
          <a:chOff x="0" y="0"/>
          <a:chExt cx="0" cy="0"/>
        </a:xfrm>
      </p:grpSpPr>
      <p:pic>
        <p:nvPicPr>
          <p:cNvPr id="7" name="Grafik 5">
            <a:extLst>
              <a:ext uri="{FF2B5EF4-FFF2-40B4-BE49-F238E27FC236}">
                <a16:creationId xmlns:a16="http://schemas.microsoft.com/office/drawing/2014/main" id="{C5DAC607-578C-435B-AC8C-4CCEBC49BDB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279" b="1279"/>
          <a:stretch/>
        </p:blipFill>
        <p:spPr bwMode="gray">
          <a:xfrm>
            <a:off x="193675" y="188913"/>
            <a:ext cx="11807826" cy="6480176"/>
          </a:xfrm>
          <a:prstGeom prst="rect">
            <a:avLst/>
          </a:prstGeom>
        </p:spPr>
      </p:pic>
      <p:sp>
        <p:nvSpPr>
          <p:cNvPr id="2" name="Titel 1">
            <a:extLst>
              <a:ext uri="{FF2B5EF4-FFF2-40B4-BE49-F238E27FC236}">
                <a16:creationId xmlns:a16="http://schemas.microsoft.com/office/drawing/2014/main" id="{EC148958-44D8-4D46-9991-D3EBEB1A92F7}"/>
              </a:ext>
            </a:extLst>
          </p:cNvPr>
          <p:cNvSpPr>
            <a:spLocks noGrp="1"/>
          </p:cNvSpPr>
          <p:nvPr>
            <p:ph type="ctrTitle"/>
          </p:nvPr>
        </p:nvSpPr>
        <p:spPr>
          <a:xfrm>
            <a:off x="6349615" y="2276872"/>
            <a:ext cx="5472498" cy="1656000"/>
          </a:xfrm>
        </p:spPr>
        <p:txBody>
          <a:bodyPr vert="horz" lIns="0" tIns="0" rIns="0" bIns="0" rtlCol="0" anchor="b">
            <a:noAutofit/>
          </a:bodyPr>
          <a:lstStyle>
            <a:lvl1pPr>
              <a:defRPr lang="de-DE" sz="3200">
                <a:solidFill>
                  <a:schemeClr val="bg1"/>
                </a:solidFill>
              </a:defRPr>
            </a:lvl1pPr>
          </a:lstStyle>
          <a:p>
            <a:pPr lvl="0"/>
            <a:r>
              <a:rPr lang="zh-CN" altLang="en-US"/>
              <a:t>单击此处编辑母版标题样式</a:t>
            </a:r>
            <a:endParaRPr lang="de-DE"/>
          </a:p>
        </p:txBody>
      </p:sp>
      <p:sp>
        <p:nvSpPr>
          <p:cNvPr id="3" name="Untertitel 2">
            <a:extLst>
              <a:ext uri="{FF2B5EF4-FFF2-40B4-BE49-F238E27FC236}">
                <a16:creationId xmlns:a16="http://schemas.microsoft.com/office/drawing/2014/main" id="{FA5B861B-70F7-479A-8850-81678B64A82D}"/>
              </a:ext>
            </a:extLst>
          </p:cNvPr>
          <p:cNvSpPr>
            <a:spLocks noGrp="1"/>
          </p:cNvSpPr>
          <p:nvPr>
            <p:ph type="subTitle" idx="1"/>
          </p:nvPr>
        </p:nvSpPr>
        <p:spPr>
          <a:xfrm>
            <a:off x="6349615" y="4214106"/>
            <a:ext cx="5472498" cy="792000"/>
          </a:xfrm>
        </p:spPr>
        <p:txBody>
          <a:bodyPr vert="horz" lIns="0" tIns="0" rIns="0" bIns="0" rtlCol="0">
            <a:noAutofit/>
          </a:bodyPr>
          <a:lstStyle>
            <a:lvl1pPr>
              <a:defRPr lang="de-DE" dirty="0">
                <a:solidFill>
                  <a:schemeClr val="bg1"/>
                </a:solidFill>
              </a:defRPr>
            </a:lvl1pPr>
          </a:lstStyle>
          <a:p>
            <a:pPr lvl="0">
              <a:spcBef>
                <a:spcPts val="0"/>
              </a:spcBef>
            </a:pPr>
            <a:r>
              <a:rPr lang="zh-CN" altLang="en-US"/>
              <a:t>单击此处编辑母版副标题样式</a:t>
            </a:r>
            <a:endParaRPr lang="de-DE"/>
          </a:p>
        </p:txBody>
      </p:sp>
      <p:grpSp>
        <p:nvGrpSpPr>
          <p:cNvPr id="8" name="Gruppieren 7">
            <a:extLst>
              <a:ext uri="{FF2B5EF4-FFF2-40B4-BE49-F238E27FC236}">
                <a16:creationId xmlns:a16="http://schemas.microsoft.com/office/drawing/2014/main" id="{BEE501E4-25DC-45EE-80F0-86B867C7EF59}"/>
              </a:ext>
            </a:extLst>
          </p:cNvPr>
          <p:cNvGrpSpPr/>
          <p:nvPr userDrawn="1"/>
        </p:nvGrpSpPr>
        <p:grpSpPr>
          <a:xfrm rot="2721512">
            <a:off x="2276920" y="720232"/>
            <a:ext cx="3961146" cy="3863153"/>
            <a:chOff x="406068" y="1629000"/>
            <a:chExt cx="3961146" cy="3863153"/>
          </a:xfrm>
        </p:grpSpPr>
        <p:sp>
          <p:nvSpPr>
            <p:cNvPr id="9" name="Grafik 2">
              <a:extLst>
                <a:ext uri="{FF2B5EF4-FFF2-40B4-BE49-F238E27FC236}">
                  <a16:creationId xmlns:a16="http://schemas.microsoft.com/office/drawing/2014/main" id="{DB429D53-CB7E-4A6F-813A-151FFB4DDF41}"/>
                </a:ext>
              </a:extLst>
            </p:cNvPr>
            <p:cNvSpPr>
              <a:spLocks noChangeAspect="1"/>
            </p:cNvSpPr>
            <p:nvPr/>
          </p:nvSpPr>
          <p:spPr>
            <a:xfrm rot="8100000">
              <a:off x="406068" y="1629000"/>
              <a:ext cx="3281259" cy="3282150"/>
            </a:xfrm>
            <a:custGeom>
              <a:avLst/>
              <a:gdLst>
                <a:gd name="connsiteX0" fmla="*/ 3509963 w 3509962"/>
                <a:gd name="connsiteY0" fmla="*/ 1755458 h 3510915"/>
                <a:gd name="connsiteX1" fmla="*/ 3509963 w 3509962"/>
                <a:gd name="connsiteY1" fmla="*/ 1755458 h 3510915"/>
                <a:gd name="connsiteX2" fmla="*/ 1754505 w 3509962"/>
                <a:gd name="connsiteY2" fmla="*/ 3510915 h 3510915"/>
                <a:gd name="connsiteX3" fmla="*/ 0 w 3509962"/>
                <a:gd name="connsiteY3" fmla="*/ 1755458 h 3510915"/>
                <a:gd name="connsiteX4" fmla="*/ 0 w 3509962"/>
                <a:gd name="connsiteY4" fmla="*/ 0 h 3510915"/>
                <a:gd name="connsiteX5" fmla="*/ 1755458 w 3509962"/>
                <a:gd name="connsiteY5" fmla="*/ 0 h 3510915"/>
                <a:gd name="connsiteX6" fmla="*/ 3509963 w 3509962"/>
                <a:gd name="connsiteY6" fmla="*/ 1755458 h 351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9962" h="3510915">
                  <a:moveTo>
                    <a:pt x="3509963" y="1755458"/>
                  </a:moveTo>
                  <a:lnTo>
                    <a:pt x="3509963" y="1755458"/>
                  </a:lnTo>
                  <a:cubicBezTo>
                    <a:pt x="3509963" y="2725103"/>
                    <a:pt x="2724150" y="3510915"/>
                    <a:pt x="1754505" y="3510915"/>
                  </a:cubicBezTo>
                  <a:cubicBezTo>
                    <a:pt x="784860" y="3510915"/>
                    <a:pt x="0" y="2724150"/>
                    <a:pt x="0" y="1755458"/>
                  </a:cubicBezTo>
                  <a:lnTo>
                    <a:pt x="0" y="0"/>
                  </a:lnTo>
                  <a:lnTo>
                    <a:pt x="1755458" y="0"/>
                  </a:lnTo>
                  <a:cubicBezTo>
                    <a:pt x="2724150" y="0"/>
                    <a:pt x="3509963" y="785813"/>
                    <a:pt x="3509963" y="1755458"/>
                  </a:cubicBezTo>
                </a:path>
              </a:pathLst>
            </a:custGeom>
            <a:gradFill>
              <a:gsLst>
                <a:gs pos="100000">
                  <a:schemeClr val="tx1">
                    <a:alpha val="80000"/>
                  </a:schemeClr>
                </a:gs>
                <a:gs pos="0">
                  <a:schemeClr val="bg2">
                    <a:alpha val="45000"/>
                  </a:schemeClr>
                </a:gs>
              </a:gsLst>
              <a:lin ang="2700000" scaled="1"/>
            </a:gradFill>
            <a:ln w="9525" cap="flat">
              <a:noFill/>
              <a:prstDash val="solid"/>
              <a:miter/>
            </a:ln>
            <a:effectLst>
              <a:outerShdw blurRad="508000" dist="38100" dir="2700000" algn="tl" rotWithShape="0">
                <a:schemeClr val="tx2">
                  <a:alpha val="40000"/>
                </a:schemeClr>
              </a:outerShdw>
            </a:effectLst>
          </p:spPr>
          <p:txBody>
            <a:bodyPr rtlCol="0" anchor="ctr"/>
            <a:lstStyle/>
            <a:p>
              <a:endParaRPr lang="en-US"/>
            </a:p>
          </p:txBody>
        </p:sp>
        <p:sp>
          <p:nvSpPr>
            <p:cNvPr id="10" name="Grafik 2">
              <a:extLst>
                <a:ext uri="{FF2B5EF4-FFF2-40B4-BE49-F238E27FC236}">
                  <a16:creationId xmlns:a16="http://schemas.microsoft.com/office/drawing/2014/main" id="{F9576CDC-DC5A-487D-8CF1-CFFD2AAFC662}"/>
                </a:ext>
              </a:extLst>
            </p:cNvPr>
            <p:cNvSpPr>
              <a:spLocks noChangeAspect="1"/>
            </p:cNvSpPr>
            <p:nvPr/>
          </p:nvSpPr>
          <p:spPr>
            <a:xfrm rot="5400000">
              <a:off x="2144800" y="3269739"/>
              <a:ext cx="2222113" cy="2222715"/>
            </a:xfrm>
            <a:custGeom>
              <a:avLst/>
              <a:gdLst>
                <a:gd name="connsiteX0" fmla="*/ 3509963 w 3509962"/>
                <a:gd name="connsiteY0" fmla="*/ 1755458 h 3510915"/>
                <a:gd name="connsiteX1" fmla="*/ 3509963 w 3509962"/>
                <a:gd name="connsiteY1" fmla="*/ 1755458 h 3510915"/>
                <a:gd name="connsiteX2" fmla="*/ 1754505 w 3509962"/>
                <a:gd name="connsiteY2" fmla="*/ 3510915 h 3510915"/>
                <a:gd name="connsiteX3" fmla="*/ 0 w 3509962"/>
                <a:gd name="connsiteY3" fmla="*/ 1755458 h 3510915"/>
                <a:gd name="connsiteX4" fmla="*/ 0 w 3509962"/>
                <a:gd name="connsiteY4" fmla="*/ 0 h 3510915"/>
                <a:gd name="connsiteX5" fmla="*/ 1755458 w 3509962"/>
                <a:gd name="connsiteY5" fmla="*/ 0 h 3510915"/>
                <a:gd name="connsiteX6" fmla="*/ 3509963 w 3509962"/>
                <a:gd name="connsiteY6" fmla="*/ 1755458 h 351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9962" h="3510915">
                  <a:moveTo>
                    <a:pt x="3509963" y="1755458"/>
                  </a:moveTo>
                  <a:lnTo>
                    <a:pt x="3509963" y="1755458"/>
                  </a:lnTo>
                  <a:cubicBezTo>
                    <a:pt x="3509963" y="2725103"/>
                    <a:pt x="2724150" y="3510915"/>
                    <a:pt x="1754505" y="3510915"/>
                  </a:cubicBezTo>
                  <a:cubicBezTo>
                    <a:pt x="784860" y="3510915"/>
                    <a:pt x="0" y="2724150"/>
                    <a:pt x="0" y="1755458"/>
                  </a:cubicBezTo>
                  <a:lnTo>
                    <a:pt x="0" y="0"/>
                  </a:lnTo>
                  <a:lnTo>
                    <a:pt x="1755458" y="0"/>
                  </a:lnTo>
                  <a:cubicBezTo>
                    <a:pt x="2724150" y="0"/>
                    <a:pt x="3509963" y="785813"/>
                    <a:pt x="3509963" y="1755458"/>
                  </a:cubicBezTo>
                </a:path>
              </a:pathLst>
            </a:custGeom>
            <a:solidFill>
              <a:schemeClr val="bg2">
                <a:alpha val="25000"/>
              </a:schemeClr>
            </a:solidFill>
            <a:ln w="9525" cap="flat">
              <a:noFill/>
              <a:prstDash val="solid"/>
              <a:miter/>
            </a:ln>
            <a:effectLst>
              <a:outerShdw blurRad="508000" dist="38100" dir="2700000" algn="tl" rotWithShape="0">
                <a:schemeClr val="tx1">
                  <a:alpha val="40000"/>
                </a:schemeClr>
              </a:outerShdw>
            </a:effectLst>
          </p:spPr>
          <p:txBody>
            <a:bodyPr rtlCol="0" anchor="ctr"/>
            <a:lstStyle/>
            <a:p>
              <a:endParaRPr lang="en-US"/>
            </a:p>
          </p:txBody>
        </p:sp>
      </p:grpSp>
      <p:pic>
        <p:nvPicPr>
          <p:cNvPr id="11" name="Grafik 8">
            <a:extLst>
              <a:ext uri="{FF2B5EF4-FFF2-40B4-BE49-F238E27FC236}">
                <a16:creationId xmlns:a16="http://schemas.microsoft.com/office/drawing/2014/main" id="{909E25B6-1E03-448C-B0CD-F092A2E587F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9328422" y="5461543"/>
            <a:ext cx="2480331" cy="1015040"/>
          </a:xfrm>
          <a:prstGeom prst="rect">
            <a:avLst/>
          </a:prstGeom>
        </p:spPr>
      </p:pic>
      <p:sp>
        <p:nvSpPr>
          <p:cNvPr id="12" name="Fußzeilenplatzhalter 2" hidden="1">
            <a:extLst>
              <a:ext uri="{FF2B5EF4-FFF2-40B4-BE49-F238E27FC236}">
                <a16:creationId xmlns:a16="http://schemas.microsoft.com/office/drawing/2014/main" id="{5F4707DF-4D24-4C8A-BDBD-A228C3FA8F90}"/>
              </a:ext>
            </a:extLst>
          </p:cNvPr>
          <p:cNvSpPr>
            <a:spLocks noGrp="1"/>
          </p:cNvSpPr>
          <p:nvPr>
            <p:ph type="ftr" sz="quarter" idx="10"/>
          </p:nvPr>
        </p:nvSpPr>
        <p:spPr>
          <a:xfrm rot="16200000">
            <a:off x="10021500" y="3555244"/>
            <a:ext cx="3960000" cy="180000"/>
          </a:xfrm>
        </p:spPr>
        <p:txBody>
          <a:bodyPr/>
          <a:lstStyle>
            <a:lvl1pPr>
              <a:defRPr>
                <a:noFill/>
              </a:defRPr>
            </a:lvl1pPr>
          </a:lstStyle>
          <a:p>
            <a:r>
              <a:rPr lang="en-US"/>
              <a:t>Footer of the presentation</a:t>
            </a:r>
          </a:p>
        </p:txBody>
      </p:sp>
      <p:sp>
        <p:nvSpPr>
          <p:cNvPr id="13" name="Foliennummernplatzhalter 4" hidden="1">
            <a:extLst>
              <a:ext uri="{FF2B5EF4-FFF2-40B4-BE49-F238E27FC236}">
                <a16:creationId xmlns:a16="http://schemas.microsoft.com/office/drawing/2014/main" id="{FCC19FFA-C2FE-4A3E-ACEE-EC7460809C2F}"/>
              </a:ext>
            </a:extLst>
          </p:cNvPr>
          <p:cNvSpPr>
            <a:spLocks noGrp="1"/>
          </p:cNvSpPr>
          <p:nvPr>
            <p:ph type="sldNum" sz="quarter" idx="11"/>
          </p:nvPr>
        </p:nvSpPr>
        <p:spPr>
          <a:xfrm rot="16200000">
            <a:off x="11785500" y="6363360"/>
            <a:ext cx="432000" cy="180000"/>
          </a:xfrm>
        </p:spPr>
        <p:txBody>
          <a:bodyPr/>
          <a:lstStyle>
            <a:lvl1pPr>
              <a:defRPr>
                <a:noFill/>
              </a:defRPr>
            </a:lvl1pPr>
          </a:lstStyle>
          <a:p>
            <a:fld id="{0D1F56E0-B6F6-48D7-9539-F293D99B01ED}" type="slidenum">
              <a:rPr lang="en-US" smtClean="0"/>
              <a:pPr/>
              <a:t>‹#›</a:t>
            </a:fld>
            <a:endParaRPr lang="en-US"/>
          </a:p>
        </p:txBody>
      </p:sp>
    </p:spTree>
    <p:extLst>
      <p:ext uri="{BB962C8B-B14F-4D97-AF65-F5344CB8AC3E}">
        <p14:creationId xmlns:p14="http://schemas.microsoft.com/office/powerpoint/2010/main" val="28597538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and big picture">
    <p:spTree>
      <p:nvGrpSpPr>
        <p:cNvPr id="1" name=""/>
        <p:cNvGrpSpPr/>
        <p:nvPr/>
      </p:nvGrpSpPr>
      <p:grpSpPr>
        <a:xfrm>
          <a:off x="0" y="0"/>
          <a:ext cx="0" cy="0"/>
          <a:chOff x="0" y="0"/>
          <a:chExt cx="0" cy="0"/>
        </a:xfrm>
      </p:grpSpPr>
      <p:sp>
        <p:nvSpPr>
          <p:cNvPr id="7" name="Fußzeilenplatzhalter 2" hidden="1">
            <a:extLst>
              <a:ext uri="{FF2B5EF4-FFF2-40B4-BE49-F238E27FC236}">
                <a16:creationId xmlns:a16="http://schemas.microsoft.com/office/drawing/2014/main" id="{F236528F-F7D2-4B02-AA91-D409599687D6}"/>
              </a:ext>
            </a:extLst>
          </p:cNvPr>
          <p:cNvSpPr>
            <a:spLocks noGrp="1"/>
          </p:cNvSpPr>
          <p:nvPr>
            <p:ph type="ftr" sz="quarter" idx="13"/>
          </p:nvPr>
        </p:nvSpPr>
        <p:spPr>
          <a:xfrm rot="16200000">
            <a:off x="10021500" y="3555244"/>
            <a:ext cx="3960000" cy="180000"/>
          </a:xfrm>
        </p:spPr>
        <p:txBody>
          <a:bodyPr/>
          <a:lstStyle>
            <a:lvl1pPr>
              <a:defRPr>
                <a:noFill/>
              </a:defRPr>
            </a:lvl1pPr>
          </a:lstStyle>
          <a:p>
            <a:r>
              <a:rPr lang="en-US"/>
              <a:t>Footer of the presentation</a:t>
            </a:r>
          </a:p>
        </p:txBody>
      </p:sp>
      <p:sp>
        <p:nvSpPr>
          <p:cNvPr id="8" name="Foliennummernplatzhalter 4" hidden="1">
            <a:extLst>
              <a:ext uri="{FF2B5EF4-FFF2-40B4-BE49-F238E27FC236}">
                <a16:creationId xmlns:a16="http://schemas.microsoft.com/office/drawing/2014/main" id="{7FB9B6AD-8856-402A-BFDA-3E5D47AD3C2A}"/>
              </a:ext>
            </a:extLst>
          </p:cNvPr>
          <p:cNvSpPr>
            <a:spLocks noGrp="1"/>
          </p:cNvSpPr>
          <p:nvPr>
            <p:ph type="sldNum" sz="quarter" idx="14"/>
          </p:nvPr>
        </p:nvSpPr>
        <p:spPr>
          <a:xfrm rot="16200000">
            <a:off x="11785500" y="6363360"/>
            <a:ext cx="432000" cy="180000"/>
          </a:xfrm>
        </p:spPr>
        <p:txBody>
          <a:bodyPr/>
          <a:lstStyle>
            <a:lvl1pPr>
              <a:defRPr>
                <a:noFill/>
              </a:defRPr>
            </a:lvl1pPr>
          </a:lstStyle>
          <a:p>
            <a:fld id="{0D1F56E0-B6F6-48D7-9539-F293D99B01ED}" type="slidenum">
              <a:rPr lang="en-US" smtClean="0"/>
              <a:pPr/>
              <a:t>‹#›</a:t>
            </a:fld>
            <a:endParaRPr lang="en-US"/>
          </a:p>
        </p:txBody>
      </p:sp>
      <p:sp>
        <p:nvSpPr>
          <p:cNvPr id="2" name="Titel 1"/>
          <p:cNvSpPr>
            <a:spLocks noGrp="1"/>
          </p:cNvSpPr>
          <p:nvPr>
            <p:ph type="title"/>
          </p:nvPr>
        </p:nvSpPr>
        <p:spPr bwMode="gray">
          <a:xfrm>
            <a:off x="373063" y="296756"/>
            <a:ext cx="2592387" cy="936000"/>
          </a:xfrm>
          <a:prstGeom prst="rect">
            <a:avLst/>
          </a:prstGeom>
        </p:spPr>
        <p:txBody>
          <a:bodyPr/>
          <a:lstStyle>
            <a:lvl1pPr>
              <a:defRPr/>
            </a:lvl1pPr>
          </a:lstStyle>
          <a:p>
            <a:r>
              <a:rPr lang="zh-CN" altLang="en-US"/>
              <a:t>单击此处编辑母版标题样式</a:t>
            </a:r>
            <a:endParaRPr lang="en-US"/>
          </a:p>
        </p:txBody>
      </p:sp>
      <p:sp>
        <p:nvSpPr>
          <p:cNvPr id="3" name="Inhaltsplatzhalter 2"/>
          <p:cNvSpPr>
            <a:spLocks noGrp="1"/>
          </p:cNvSpPr>
          <p:nvPr>
            <p:ph idx="1" hasCustomPrompt="1"/>
          </p:nvPr>
        </p:nvSpPr>
        <p:spPr bwMode="gray">
          <a:xfrm>
            <a:off x="373063" y="1665288"/>
            <a:ext cx="2592387" cy="500380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Subline First Level</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9" name="Picture Placeholder 6">
            <a:extLst>
              <a:ext uri="{FF2B5EF4-FFF2-40B4-BE49-F238E27FC236}">
                <a16:creationId xmlns:a16="http://schemas.microsoft.com/office/drawing/2014/main" id="{CCBD7D10-A88A-4B37-BD54-6126B883FA84}"/>
              </a:ext>
            </a:extLst>
          </p:cNvPr>
          <p:cNvSpPr>
            <a:spLocks noGrp="1"/>
          </p:cNvSpPr>
          <p:nvPr>
            <p:ph type="pic" sz="quarter" idx="10"/>
          </p:nvPr>
        </p:nvSpPr>
        <p:spPr bwMode="gray">
          <a:xfrm>
            <a:off x="3325813" y="0"/>
            <a:ext cx="8869361" cy="6858000"/>
          </a:xfrm>
          <a:blipFill dpi="0" rotWithShape="1">
            <a:blip r:embed="rId2"/>
            <a:srcRect/>
            <a:stretch>
              <a:fillRect/>
            </a:stretch>
          </a:blipFill>
        </p:spPr>
        <p:txBody>
          <a:bodyPr tIns="0" bIns="792000" anchor="ctr"/>
          <a:lstStyle>
            <a:lvl1pPr algn="ctr">
              <a:defRPr sz="1200"/>
            </a:lvl1pPr>
          </a:lstStyle>
          <a:p>
            <a:r>
              <a:rPr lang="zh-CN" altLang="en-US"/>
              <a:t>单击图标添加图片</a:t>
            </a:r>
            <a:endParaRPr lang="en-GB"/>
          </a:p>
        </p:txBody>
      </p:sp>
      <p:sp>
        <p:nvSpPr>
          <p:cNvPr id="6" name="Textfeld 11">
            <a:extLst>
              <a:ext uri="{FF2B5EF4-FFF2-40B4-BE49-F238E27FC236}">
                <a16:creationId xmlns:a16="http://schemas.microsoft.com/office/drawing/2014/main" id="{14BCA7FB-73BE-40A2-9D4B-53E96C25924B}"/>
              </a:ext>
            </a:extLst>
          </p:cNvPr>
          <p:cNvSpPr txBox="1">
            <a:spLocks noChangeArrowheads="1"/>
          </p:cNvSpPr>
          <p:nvPr userDrawn="1"/>
        </p:nvSpPr>
        <p:spPr bwMode="auto">
          <a:xfrm>
            <a:off x="-2291345" y="209164"/>
            <a:ext cx="2067146" cy="2672916"/>
          </a:xfrm>
          <a:prstGeom prst="rect">
            <a:avLst/>
          </a:prstGeom>
          <a:solidFill>
            <a:schemeClr val="bg1">
              <a:lumMod val="95000"/>
            </a:schemeClr>
          </a:solidFill>
          <a:ln>
            <a:solidFill>
              <a:srgbClr val="BFBFBF"/>
            </a:solidFill>
          </a:ln>
        </p:spPr>
        <p:txBody>
          <a:bodyPr wrap="square" lIns="35996" tIns="35996" rIns="35996" bIns="35996">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eaLnBrk="1" fontAlgn="base" hangingPunct="1">
              <a:spcBef>
                <a:spcPct val="0"/>
              </a:spcBef>
              <a:spcAft>
                <a:spcPct val="0"/>
              </a:spcAft>
            </a:pPr>
            <a:r>
              <a:rPr lang="en-US" sz="1100">
                <a:solidFill>
                  <a:schemeClr val="bg2"/>
                </a:solidFill>
                <a:latin typeface="+mn-lt"/>
                <a:cs typeface="Tahoma" charset="0"/>
              </a:rPr>
              <a:t>How to insert a photo?</a:t>
            </a:r>
            <a:endParaRPr lang="en-US" sz="1100">
              <a:latin typeface="+mn-lt"/>
              <a:cs typeface="Tahoma" charset="0"/>
            </a:endParaRPr>
          </a:p>
          <a:p>
            <a:pPr eaLnBrk="1" fontAlgn="base" hangingPunct="1">
              <a:spcBef>
                <a:spcPct val="0"/>
              </a:spcBef>
              <a:spcAft>
                <a:spcPct val="0"/>
              </a:spcAft>
            </a:pPr>
            <a:r>
              <a:rPr lang="en-US" sz="1100">
                <a:latin typeface="+mn-lt"/>
                <a:cs typeface="Tahoma" charset="0"/>
              </a:rPr>
              <a:t>Click the icon to add a picture from a file, or open the Cumulus Browser and select an image, click on the placeholder, and click insert in the Cumulus Browser. The image will be inserted to fit the size of the placeholder. </a:t>
            </a:r>
          </a:p>
          <a:p>
            <a:pPr eaLnBrk="1" fontAlgn="base" hangingPunct="1">
              <a:spcBef>
                <a:spcPct val="0"/>
              </a:spcBef>
              <a:spcAft>
                <a:spcPct val="0"/>
              </a:spcAft>
            </a:pPr>
            <a:endParaRPr lang="en-US" sz="1100">
              <a:latin typeface="+mn-lt"/>
              <a:cs typeface="Tahoma" charset="0"/>
            </a:endParaRPr>
          </a:p>
          <a:p>
            <a:pPr eaLnBrk="1" fontAlgn="base" hangingPunct="1">
              <a:spcBef>
                <a:spcPct val="0"/>
              </a:spcBef>
              <a:spcAft>
                <a:spcPct val="0"/>
              </a:spcAft>
            </a:pPr>
            <a:r>
              <a:rPr lang="en-US" sz="1100">
                <a:solidFill>
                  <a:schemeClr val="bg2"/>
                </a:solidFill>
                <a:latin typeface="+mn-lt"/>
                <a:cs typeface="Tahoma" charset="0"/>
              </a:rPr>
              <a:t>Want to customize the image section? </a:t>
            </a:r>
          </a:p>
          <a:p>
            <a:pPr eaLnBrk="1" fontAlgn="base" hangingPunct="1">
              <a:spcBef>
                <a:spcPct val="0"/>
              </a:spcBef>
              <a:spcAft>
                <a:spcPct val="0"/>
              </a:spcAft>
            </a:pPr>
            <a:r>
              <a:rPr lang="en-US" sz="1100">
                <a:latin typeface="+mn-lt"/>
                <a:cs typeface="Tahoma" charset="0"/>
              </a:rPr>
              <a:t>Select the image, right-click and choose </a:t>
            </a:r>
            <a:r>
              <a:rPr lang="en-US" sz="1100" i="1">
                <a:latin typeface="+mn-lt"/>
                <a:cs typeface="Tahoma" charset="0"/>
              </a:rPr>
              <a:t>crop</a:t>
            </a:r>
            <a:r>
              <a:rPr lang="en-US" sz="1100">
                <a:latin typeface="+mn-lt"/>
                <a:cs typeface="Tahoma" charset="0"/>
              </a:rPr>
              <a:t>. Now you can select the image section to be shown. </a:t>
            </a:r>
            <a:endParaRPr lang="en-US" sz="1000">
              <a:latin typeface="+mn-lt"/>
              <a:cs typeface="Tahoma" charset="0"/>
            </a:endParaRPr>
          </a:p>
        </p:txBody>
      </p:sp>
    </p:spTree>
    <p:extLst>
      <p:ext uri="{BB962C8B-B14F-4D97-AF65-F5344CB8AC3E}">
        <p14:creationId xmlns:p14="http://schemas.microsoft.com/office/powerpoint/2010/main" val="3349206659"/>
      </p:ext>
    </p:extLst>
  </p:cSld>
  <p:clrMapOvr>
    <a:masterClrMapping/>
  </p:clrMapOvr>
  <p:extLst>
    <p:ext uri="{DCECCB84-F9BA-43D5-87BE-67443E8EF086}">
      <p15:sldGuideLst xmlns:p15="http://schemas.microsoft.com/office/powerpoint/2012/main">
        <p15:guide id="1" pos="235">
          <p15:clr>
            <a:srgbClr val="F26B43"/>
          </p15:clr>
        </p15:guide>
        <p15:guide id="2" orient="horz" pos="1049">
          <p15:clr>
            <a:srgbClr val="F26B43"/>
          </p15:clr>
        </p15:guide>
        <p15:guide id="3" orient="horz" pos="4201">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e picture two contents">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73063" y="3356992"/>
            <a:ext cx="11449050" cy="936000"/>
          </a:xfrm>
          <a:prstGeom prst="rect">
            <a:avLst/>
          </a:prstGeom>
        </p:spPr>
        <p:txBody>
          <a:bodyPr/>
          <a:lstStyle>
            <a:lvl1pPr>
              <a:defRPr/>
            </a:lvl1pPr>
          </a:lstStyle>
          <a:p>
            <a:r>
              <a:rPr lang="zh-CN" altLang="en-US"/>
              <a:t>单击此处编辑母版标题样式</a:t>
            </a:r>
            <a:endParaRPr lang="en-US"/>
          </a:p>
        </p:txBody>
      </p:sp>
      <p:sp>
        <p:nvSpPr>
          <p:cNvPr id="3" name="Inhaltsplatzhalter 2"/>
          <p:cNvSpPr>
            <a:spLocks noGrp="1"/>
          </p:cNvSpPr>
          <p:nvPr>
            <p:ph idx="1" hasCustomPrompt="1"/>
          </p:nvPr>
        </p:nvSpPr>
        <p:spPr bwMode="gray">
          <a:xfrm>
            <a:off x="373063" y="4509120"/>
            <a:ext cx="5472112" cy="2159968"/>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Subline First Level</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9" name="Picture Placeholder 6">
            <a:extLst>
              <a:ext uri="{FF2B5EF4-FFF2-40B4-BE49-F238E27FC236}">
                <a16:creationId xmlns:a16="http://schemas.microsoft.com/office/drawing/2014/main" id="{CCBD7D10-A88A-4B37-BD54-6126B883FA84}"/>
              </a:ext>
            </a:extLst>
          </p:cNvPr>
          <p:cNvSpPr>
            <a:spLocks noGrp="1"/>
          </p:cNvSpPr>
          <p:nvPr>
            <p:ph type="pic" sz="quarter" idx="10"/>
          </p:nvPr>
        </p:nvSpPr>
        <p:spPr bwMode="gray">
          <a:xfrm>
            <a:off x="1" y="0"/>
            <a:ext cx="12195174" cy="3140968"/>
          </a:xfrm>
          <a:blipFill>
            <a:blip r:embed="rId2"/>
            <a:stretch>
              <a:fillRect l="-43000" r="-44000"/>
            </a:stretch>
          </a:blipFill>
        </p:spPr>
        <p:txBody>
          <a:bodyPr tIns="0" bIns="792000" anchor="ctr"/>
          <a:lstStyle>
            <a:lvl1pPr algn="ctr">
              <a:defRPr sz="1200"/>
            </a:lvl1pPr>
          </a:lstStyle>
          <a:p>
            <a:r>
              <a:rPr lang="zh-CN" altLang="en-US"/>
              <a:t>单击图标添加图片</a:t>
            </a:r>
            <a:endParaRPr lang="en-GB"/>
          </a:p>
        </p:txBody>
      </p:sp>
      <p:sp>
        <p:nvSpPr>
          <p:cNvPr id="5" name="Inhaltsplatzhalter 2">
            <a:extLst>
              <a:ext uri="{FF2B5EF4-FFF2-40B4-BE49-F238E27FC236}">
                <a16:creationId xmlns:a16="http://schemas.microsoft.com/office/drawing/2014/main" id="{225BF08C-3367-4C54-AFE8-BCAB3CD00BC9}"/>
              </a:ext>
            </a:extLst>
          </p:cNvPr>
          <p:cNvSpPr>
            <a:spLocks noGrp="1"/>
          </p:cNvSpPr>
          <p:nvPr>
            <p:ph idx="11" hasCustomPrompt="1"/>
          </p:nvPr>
        </p:nvSpPr>
        <p:spPr bwMode="gray">
          <a:xfrm>
            <a:off x="6350000" y="4509120"/>
            <a:ext cx="5472112" cy="2159968"/>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Subline First Level</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4" name="Footer Placeholder 3">
            <a:extLst>
              <a:ext uri="{FF2B5EF4-FFF2-40B4-BE49-F238E27FC236}">
                <a16:creationId xmlns:a16="http://schemas.microsoft.com/office/drawing/2014/main" id="{FE604B3A-EF3D-4E36-B7C2-4B6A6B7C58B4}"/>
              </a:ext>
            </a:extLst>
          </p:cNvPr>
          <p:cNvSpPr>
            <a:spLocks noGrp="1"/>
          </p:cNvSpPr>
          <p:nvPr>
            <p:ph type="ftr" sz="quarter" idx="12"/>
          </p:nvPr>
        </p:nvSpPr>
        <p:spPr bwMode="gray"/>
        <p:txBody>
          <a:bodyPr/>
          <a:lstStyle/>
          <a:p>
            <a:r>
              <a:rPr lang="en-US"/>
              <a:t>Footer of the presentation</a:t>
            </a:r>
          </a:p>
        </p:txBody>
      </p:sp>
      <p:sp>
        <p:nvSpPr>
          <p:cNvPr id="6" name="Slide Number Placeholder 5">
            <a:extLst>
              <a:ext uri="{FF2B5EF4-FFF2-40B4-BE49-F238E27FC236}">
                <a16:creationId xmlns:a16="http://schemas.microsoft.com/office/drawing/2014/main" id="{EA9883A9-27EF-4B07-873C-F8718B0CF619}"/>
              </a:ext>
            </a:extLst>
          </p:cNvPr>
          <p:cNvSpPr>
            <a:spLocks noGrp="1"/>
          </p:cNvSpPr>
          <p:nvPr>
            <p:ph type="sldNum" sz="quarter" idx="13"/>
          </p:nvPr>
        </p:nvSpPr>
        <p:spPr bwMode="gray"/>
        <p:txBody>
          <a:bodyPr/>
          <a:lstStyle/>
          <a:p>
            <a:fld id="{0D1F56E0-B6F6-48D7-9539-F293D99B01ED}" type="slidenum">
              <a:rPr lang="en-US" smtClean="0"/>
              <a:pPr/>
              <a:t>‹#›</a:t>
            </a:fld>
            <a:endParaRPr lang="en-US"/>
          </a:p>
        </p:txBody>
      </p:sp>
      <p:sp>
        <p:nvSpPr>
          <p:cNvPr id="10" name="Textfeld 11">
            <a:extLst>
              <a:ext uri="{FF2B5EF4-FFF2-40B4-BE49-F238E27FC236}">
                <a16:creationId xmlns:a16="http://schemas.microsoft.com/office/drawing/2014/main" id="{FF832E61-EC2D-4BCB-BBDB-A7A604106BD1}"/>
              </a:ext>
            </a:extLst>
          </p:cNvPr>
          <p:cNvSpPr txBox="1">
            <a:spLocks noChangeArrowheads="1"/>
          </p:cNvSpPr>
          <p:nvPr userDrawn="1"/>
        </p:nvSpPr>
        <p:spPr bwMode="auto">
          <a:xfrm>
            <a:off x="-2291345" y="209164"/>
            <a:ext cx="2067146" cy="2672916"/>
          </a:xfrm>
          <a:prstGeom prst="rect">
            <a:avLst/>
          </a:prstGeom>
          <a:solidFill>
            <a:schemeClr val="bg1">
              <a:lumMod val="95000"/>
            </a:schemeClr>
          </a:solidFill>
          <a:ln>
            <a:solidFill>
              <a:srgbClr val="BFBFBF"/>
            </a:solidFill>
          </a:ln>
        </p:spPr>
        <p:txBody>
          <a:bodyPr wrap="square" lIns="35996" tIns="35996" rIns="35996" bIns="35996">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eaLnBrk="1" fontAlgn="base" hangingPunct="1">
              <a:spcBef>
                <a:spcPct val="0"/>
              </a:spcBef>
              <a:spcAft>
                <a:spcPct val="0"/>
              </a:spcAft>
            </a:pPr>
            <a:r>
              <a:rPr lang="en-US" sz="1100">
                <a:solidFill>
                  <a:schemeClr val="bg2"/>
                </a:solidFill>
                <a:latin typeface="+mn-lt"/>
                <a:cs typeface="Tahoma" charset="0"/>
              </a:rPr>
              <a:t>How to insert a photo?</a:t>
            </a:r>
            <a:endParaRPr lang="en-US" sz="1100">
              <a:latin typeface="+mn-lt"/>
              <a:cs typeface="Tahoma" charset="0"/>
            </a:endParaRPr>
          </a:p>
          <a:p>
            <a:pPr eaLnBrk="1" fontAlgn="base" hangingPunct="1">
              <a:spcBef>
                <a:spcPct val="0"/>
              </a:spcBef>
              <a:spcAft>
                <a:spcPct val="0"/>
              </a:spcAft>
            </a:pPr>
            <a:r>
              <a:rPr lang="en-US" sz="1100">
                <a:latin typeface="+mn-lt"/>
                <a:cs typeface="Tahoma" charset="0"/>
              </a:rPr>
              <a:t>Click the icon to add a picture from a file, or open the Cumulus Browser and select an image, click on the placeholder, and click insert in the Cumulus Browser. The image will be inserted to fit the size of the placeholder. </a:t>
            </a:r>
          </a:p>
          <a:p>
            <a:pPr eaLnBrk="1" fontAlgn="base" hangingPunct="1">
              <a:spcBef>
                <a:spcPct val="0"/>
              </a:spcBef>
              <a:spcAft>
                <a:spcPct val="0"/>
              </a:spcAft>
            </a:pPr>
            <a:endParaRPr lang="en-US" sz="1100">
              <a:latin typeface="+mn-lt"/>
              <a:cs typeface="Tahoma" charset="0"/>
            </a:endParaRPr>
          </a:p>
          <a:p>
            <a:pPr eaLnBrk="1" fontAlgn="base" hangingPunct="1">
              <a:spcBef>
                <a:spcPct val="0"/>
              </a:spcBef>
              <a:spcAft>
                <a:spcPct val="0"/>
              </a:spcAft>
            </a:pPr>
            <a:r>
              <a:rPr lang="en-US" sz="1100">
                <a:solidFill>
                  <a:schemeClr val="bg2"/>
                </a:solidFill>
                <a:latin typeface="+mn-lt"/>
                <a:cs typeface="Tahoma" charset="0"/>
              </a:rPr>
              <a:t>Want to customize the image section? </a:t>
            </a:r>
          </a:p>
          <a:p>
            <a:pPr eaLnBrk="1" fontAlgn="base" hangingPunct="1">
              <a:spcBef>
                <a:spcPct val="0"/>
              </a:spcBef>
              <a:spcAft>
                <a:spcPct val="0"/>
              </a:spcAft>
            </a:pPr>
            <a:r>
              <a:rPr lang="en-US" sz="1100">
                <a:latin typeface="+mn-lt"/>
                <a:cs typeface="Tahoma" charset="0"/>
              </a:rPr>
              <a:t>Select the image, right-click and choose </a:t>
            </a:r>
            <a:r>
              <a:rPr lang="en-US" sz="1100" i="1">
                <a:latin typeface="+mn-lt"/>
                <a:cs typeface="Tahoma" charset="0"/>
              </a:rPr>
              <a:t>crop</a:t>
            </a:r>
            <a:r>
              <a:rPr lang="en-US" sz="1100">
                <a:latin typeface="+mn-lt"/>
                <a:cs typeface="Tahoma" charset="0"/>
              </a:rPr>
              <a:t>. Now you can select the image section to be shown. </a:t>
            </a:r>
            <a:endParaRPr lang="en-US" sz="1000">
              <a:latin typeface="+mn-lt"/>
              <a:cs typeface="Tahoma" charset="0"/>
            </a:endParaRPr>
          </a:p>
        </p:txBody>
      </p:sp>
    </p:spTree>
    <p:extLst>
      <p:ext uri="{BB962C8B-B14F-4D97-AF65-F5344CB8AC3E}">
        <p14:creationId xmlns:p14="http://schemas.microsoft.com/office/powerpoint/2010/main" val="3225082691"/>
      </p:ext>
    </p:extLst>
  </p:cSld>
  <p:clrMapOvr>
    <a:masterClrMapping/>
  </p:clrMapOvr>
  <p:extLst>
    <p:ext uri="{DCECCB84-F9BA-43D5-87BE-67443E8EF086}">
      <p15:sldGuideLst xmlns:p15="http://schemas.microsoft.com/office/powerpoint/2012/main">
        <p15:guide id="1" pos="235">
          <p15:clr>
            <a:srgbClr val="F26B43"/>
          </p15:clr>
        </p15:guide>
        <p15:guide id="2" orient="horz" pos="4201">
          <p15:clr>
            <a:srgbClr val="F26B43"/>
          </p15:clr>
        </p15:guide>
        <p15:guide id="3" pos="7447">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72951" y="296651"/>
            <a:ext cx="11449049" cy="936000"/>
          </a:xfrm>
          <a:prstGeom prst="rect">
            <a:avLst/>
          </a:prstGeom>
        </p:spPr>
        <p:txBody>
          <a:bodyPr/>
          <a:lstStyle>
            <a:lvl1pPr>
              <a:defRPr/>
            </a:lvl1pPr>
          </a:lstStyle>
          <a:p>
            <a:r>
              <a:rPr lang="zh-CN" altLang="en-US"/>
              <a:t>单击此处编辑母版标题样式</a:t>
            </a:r>
            <a:endParaRPr lang="en-US"/>
          </a:p>
        </p:txBody>
      </p:sp>
      <p:sp>
        <p:nvSpPr>
          <p:cNvPr id="3" name="Inhaltsplatzhalter 2"/>
          <p:cNvSpPr>
            <a:spLocks noGrp="1"/>
          </p:cNvSpPr>
          <p:nvPr>
            <p:ph idx="1" hasCustomPrompt="1"/>
          </p:nvPr>
        </p:nvSpPr>
        <p:spPr bwMode="gray">
          <a:xfrm>
            <a:off x="373063" y="3861048"/>
            <a:ext cx="3529012" cy="280804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Subline First Level</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pic>
        <p:nvPicPr>
          <p:cNvPr id="6" name="Grafik 64">
            <a:extLst>
              <a:ext uri="{FF2B5EF4-FFF2-40B4-BE49-F238E27FC236}">
                <a16:creationId xmlns:a16="http://schemas.microsoft.com/office/drawing/2014/main" id="{24558650-3D52-48D4-840A-DEBCD1D174D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rot="16200000">
            <a:off x="11547102" y="335844"/>
            <a:ext cx="932160" cy="381473"/>
          </a:xfrm>
          <a:prstGeom prst="rect">
            <a:avLst/>
          </a:prstGeom>
        </p:spPr>
      </p:pic>
      <p:sp>
        <p:nvSpPr>
          <p:cNvPr id="4" name="Footer Placeholder 3">
            <a:extLst>
              <a:ext uri="{FF2B5EF4-FFF2-40B4-BE49-F238E27FC236}">
                <a16:creationId xmlns:a16="http://schemas.microsoft.com/office/drawing/2014/main" id="{CF5164C4-5D0D-4B79-962F-B220F9F47B73}"/>
              </a:ext>
            </a:extLst>
          </p:cNvPr>
          <p:cNvSpPr>
            <a:spLocks noGrp="1"/>
          </p:cNvSpPr>
          <p:nvPr>
            <p:ph type="ftr" sz="quarter" idx="10"/>
          </p:nvPr>
        </p:nvSpPr>
        <p:spPr bwMode="gray"/>
        <p:txBody>
          <a:bodyPr/>
          <a:lstStyle/>
          <a:p>
            <a:r>
              <a:rPr lang="en-US"/>
              <a:t>Footer of the presentation</a:t>
            </a:r>
          </a:p>
        </p:txBody>
      </p:sp>
      <p:sp>
        <p:nvSpPr>
          <p:cNvPr id="7" name="Slide Number Placeholder 6">
            <a:extLst>
              <a:ext uri="{FF2B5EF4-FFF2-40B4-BE49-F238E27FC236}">
                <a16:creationId xmlns:a16="http://schemas.microsoft.com/office/drawing/2014/main" id="{4276346C-96E0-4E02-AECD-7BF79CE13A0A}"/>
              </a:ext>
            </a:extLst>
          </p:cNvPr>
          <p:cNvSpPr>
            <a:spLocks noGrp="1"/>
          </p:cNvSpPr>
          <p:nvPr>
            <p:ph type="sldNum" sz="quarter" idx="11"/>
          </p:nvPr>
        </p:nvSpPr>
        <p:spPr bwMode="gray"/>
        <p:txBody>
          <a:bodyPr/>
          <a:lstStyle/>
          <a:p>
            <a:fld id="{0D1F56E0-B6F6-48D7-9539-F293D99B01ED}" type="slidenum">
              <a:rPr lang="en-US" smtClean="0"/>
              <a:pPr/>
              <a:t>‹#›</a:t>
            </a:fld>
            <a:endParaRPr lang="en-US"/>
          </a:p>
        </p:txBody>
      </p:sp>
      <p:sp>
        <p:nvSpPr>
          <p:cNvPr id="8" name="Inhaltsplatzhalter 2">
            <a:extLst>
              <a:ext uri="{FF2B5EF4-FFF2-40B4-BE49-F238E27FC236}">
                <a16:creationId xmlns:a16="http://schemas.microsoft.com/office/drawing/2014/main" id="{6BC2B176-B02A-4A7F-88CF-8CFE3660DABA}"/>
              </a:ext>
            </a:extLst>
          </p:cNvPr>
          <p:cNvSpPr>
            <a:spLocks noGrp="1"/>
          </p:cNvSpPr>
          <p:nvPr>
            <p:ph idx="12" hasCustomPrompt="1"/>
          </p:nvPr>
        </p:nvSpPr>
        <p:spPr bwMode="gray">
          <a:xfrm>
            <a:off x="4333875" y="3861048"/>
            <a:ext cx="3527425" cy="280804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Subline First Level</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9" name="Inhaltsplatzhalter 2">
            <a:extLst>
              <a:ext uri="{FF2B5EF4-FFF2-40B4-BE49-F238E27FC236}">
                <a16:creationId xmlns:a16="http://schemas.microsoft.com/office/drawing/2014/main" id="{142940B3-9506-4C9F-9171-C2BB8843E75A}"/>
              </a:ext>
            </a:extLst>
          </p:cNvPr>
          <p:cNvSpPr>
            <a:spLocks noGrp="1"/>
          </p:cNvSpPr>
          <p:nvPr>
            <p:ph idx="13" hasCustomPrompt="1"/>
          </p:nvPr>
        </p:nvSpPr>
        <p:spPr bwMode="gray">
          <a:xfrm>
            <a:off x="8293100" y="3861048"/>
            <a:ext cx="3529013" cy="280804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Subline First Level</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
        <p:nvSpPr>
          <p:cNvPr id="11" name="Picture Placeholder 6">
            <a:extLst>
              <a:ext uri="{FF2B5EF4-FFF2-40B4-BE49-F238E27FC236}">
                <a16:creationId xmlns:a16="http://schemas.microsoft.com/office/drawing/2014/main" id="{AA2BB3CE-E7C6-4591-A8A6-100013542A24}"/>
              </a:ext>
            </a:extLst>
          </p:cNvPr>
          <p:cNvSpPr>
            <a:spLocks noGrp="1"/>
          </p:cNvSpPr>
          <p:nvPr>
            <p:ph type="pic" sz="quarter" idx="14"/>
          </p:nvPr>
        </p:nvSpPr>
        <p:spPr bwMode="gray">
          <a:xfrm>
            <a:off x="372951" y="1664804"/>
            <a:ext cx="3528280" cy="1763712"/>
          </a:xfrm>
          <a:blipFill>
            <a:blip r:embed="rId4"/>
            <a:stretch>
              <a:fillRect l="-43000" r="-44000"/>
            </a:stretch>
          </a:blipFill>
        </p:spPr>
        <p:txBody>
          <a:bodyPr tIns="0" bIns="792000" anchor="ctr"/>
          <a:lstStyle>
            <a:lvl1pPr algn="ctr">
              <a:defRPr sz="1200"/>
            </a:lvl1pPr>
          </a:lstStyle>
          <a:p>
            <a:r>
              <a:rPr lang="zh-CN" altLang="en-US"/>
              <a:t>单击图标添加图片</a:t>
            </a:r>
            <a:endParaRPr lang="en-GB"/>
          </a:p>
        </p:txBody>
      </p:sp>
      <p:sp>
        <p:nvSpPr>
          <p:cNvPr id="12" name="Picture Placeholder 6">
            <a:extLst>
              <a:ext uri="{FF2B5EF4-FFF2-40B4-BE49-F238E27FC236}">
                <a16:creationId xmlns:a16="http://schemas.microsoft.com/office/drawing/2014/main" id="{550B40FA-CF17-4AC6-AF86-396A1D7060D8}"/>
              </a:ext>
            </a:extLst>
          </p:cNvPr>
          <p:cNvSpPr>
            <a:spLocks noGrp="1"/>
          </p:cNvSpPr>
          <p:nvPr>
            <p:ph type="pic" sz="quarter" idx="15"/>
          </p:nvPr>
        </p:nvSpPr>
        <p:spPr bwMode="gray">
          <a:xfrm>
            <a:off x="4333391" y="1664804"/>
            <a:ext cx="3528280" cy="1763712"/>
          </a:xfrm>
          <a:blipFill>
            <a:blip r:embed="rId4"/>
            <a:stretch>
              <a:fillRect l="-43000" r="-44000"/>
            </a:stretch>
          </a:blipFill>
        </p:spPr>
        <p:txBody>
          <a:bodyPr tIns="0" bIns="792000" anchor="ctr"/>
          <a:lstStyle>
            <a:lvl1pPr algn="ctr">
              <a:defRPr sz="1200"/>
            </a:lvl1pPr>
          </a:lstStyle>
          <a:p>
            <a:r>
              <a:rPr lang="zh-CN" altLang="en-US"/>
              <a:t>单击图标添加图片</a:t>
            </a:r>
            <a:endParaRPr lang="en-GB"/>
          </a:p>
        </p:txBody>
      </p:sp>
      <p:sp>
        <p:nvSpPr>
          <p:cNvPr id="13" name="Picture Placeholder 6">
            <a:extLst>
              <a:ext uri="{FF2B5EF4-FFF2-40B4-BE49-F238E27FC236}">
                <a16:creationId xmlns:a16="http://schemas.microsoft.com/office/drawing/2014/main" id="{32E303E3-04E9-49C7-9E9D-82EB672D1576}"/>
              </a:ext>
            </a:extLst>
          </p:cNvPr>
          <p:cNvSpPr>
            <a:spLocks noGrp="1"/>
          </p:cNvSpPr>
          <p:nvPr>
            <p:ph type="pic" sz="quarter" idx="16"/>
          </p:nvPr>
        </p:nvSpPr>
        <p:spPr bwMode="gray">
          <a:xfrm>
            <a:off x="8293831" y="1664804"/>
            <a:ext cx="3528280" cy="1763712"/>
          </a:xfrm>
          <a:blipFill>
            <a:blip r:embed="rId4"/>
            <a:stretch>
              <a:fillRect l="-43000" r="-44000"/>
            </a:stretch>
          </a:blipFill>
        </p:spPr>
        <p:txBody>
          <a:bodyPr tIns="0" bIns="792000" anchor="ctr"/>
          <a:lstStyle>
            <a:lvl1pPr algn="ctr">
              <a:defRPr sz="1200"/>
            </a:lvl1pPr>
          </a:lstStyle>
          <a:p>
            <a:r>
              <a:rPr lang="zh-CN" altLang="en-US"/>
              <a:t>单击图标添加图片</a:t>
            </a:r>
            <a:endParaRPr lang="en-GB"/>
          </a:p>
        </p:txBody>
      </p:sp>
      <p:sp>
        <p:nvSpPr>
          <p:cNvPr id="15" name="Textfeld 11">
            <a:extLst>
              <a:ext uri="{FF2B5EF4-FFF2-40B4-BE49-F238E27FC236}">
                <a16:creationId xmlns:a16="http://schemas.microsoft.com/office/drawing/2014/main" id="{E335A3C9-5462-447C-ABDB-F2E290443AE2}"/>
              </a:ext>
            </a:extLst>
          </p:cNvPr>
          <p:cNvSpPr txBox="1">
            <a:spLocks noChangeArrowheads="1"/>
          </p:cNvSpPr>
          <p:nvPr userDrawn="1"/>
        </p:nvSpPr>
        <p:spPr bwMode="auto">
          <a:xfrm>
            <a:off x="-2291345" y="209164"/>
            <a:ext cx="2067146" cy="2672916"/>
          </a:xfrm>
          <a:prstGeom prst="rect">
            <a:avLst/>
          </a:prstGeom>
          <a:solidFill>
            <a:schemeClr val="bg1">
              <a:lumMod val="95000"/>
            </a:schemeClr>
          </a:solidFill>
          <a:ln>
            <a:solidFill>
              <a:srgbClr val="BFBFBF"/>
            </a:solidFill>
          </a:ln>
        </p:spPr>
        <p:txBody>
          <a:bodyPr wrap="square" lIns="35996" tIns="35996" rIns="35996" bIns="35996">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eaLnBrk="1" fontAlgn="base" hangingPunct="1">
              <a:spcBef>
                <a:spcPct val="0"/>
              </a:spcBef>
              <a:spcAft>
                <a:spcPct val="0"/>
              </a:spcAft>
            </a:pPr>
            <a:r>
              <a:rPr lang="en-US" sz="1100">
                <a:solidFill>
                  <a:schemeClr val="bg2"/>
                </a:solidFill>
                <a:latin typeface="+mn-lt"/>
                <a:cs typeface="Tahoma" charset="0"/>
              </a:rPr>
              <a:t>How to insert a photo?</a:t>
            </a:r>
            <a:endParaRPr lang="en-US" sz="1100">
              <a:latin typeface="+mn-lt"/>
              <a:cs typeface="Tahoma" charset="0"/>
            </a:endParaRPr>
          </a:p>
          <a:p>
            <a:pPr eaLnBrk="1" fontAlgn="base" hangingPunct="1">
              <a:spcBef>
                <a:spcPct val="0"/>
              </a:spcBef>
              <a:spcAft>
                <a:spcPct val="0"/>
              </a:spcAft>
            </a:pPr>
            <a:r>
              <a:rPr lang="en-US" sz="1100">
                <a:latin typeface="+mn-lt"/>
                <a:cs typeface="Tahoma" charset="0"/>
              </a:rPr>
              <a:t>Click the icon to add a picture from a file, or open the Cumulus Browser and select an image, click on the placeholder, and click insert in the Cumulus Browser. The image will be inserted to fit the size of the placeholder. </a:t>
            </a:r>
          </a:p>
          <a:p>
            <a:pPr eaLnBrk="1" fontAlgn="base" hangingPunct="1">
              <a:spcBef>
                <a:spcPct val="0"/>
              </a:spcBef>
              <a:spcAft>
                <a:spcPct val="0"/>
              </a:spcAft>
            </a:pPr>
            <a:endParaRPr lang="en-US" sz="1100">
              <a:latin typeface="+mn-lt"/>
              <a:cs typeface="Tahoma" charset="0"/>
            </a:endParaRPr>
          </a:p>
          <a:p>
            <a:pPr eaLnBrk="1" fontAlgn="base" hangingPunct="1">
              <a:spcBef>
                <a:spcPct val="0"/>
              </a:spcBef>
              <a:spcAft>
                <a:spcPct val="0"/>
              </a:spcAft>
            </a:pPr>
            <a:r>
              <a:rPr lang="en-US" sz="1100">
                <a:solidFill>
                  <a:schemeClr val="bg2"/>
                </a:solidFill>
                <a:latin typeface="+mn-lt"/>
                <a:cs typeface="Tahoma" charset="0"/>
              </a:rPr>
              <a:t>Want to customize the image section? </a:t>
            </a:r>
          </a:p>
          <a:p>
            <a:pPr eaLnBrk="1" fontAlgn="base" hangingPunct="1">
              <a:spcBef>
                <a:spcPct val="0"/>
              </a:spcBef>
              <a:spcAft>
                <a:spcPct val="0"/>
              </a:spcAft>
            </a:pPr>
            <a:r>
              <a:rPr lang="en-US" sz="1100">
                <a:latin typeface="+mn-lt"/>
                <a:cs typeface="Tahoma" charset="0"/>
              </a:rPr>
              <a:t>Select the image, right-click and choose </a:t>
            </a:r>
            <a:r>
              <a:rPr lang="en-US" sz="1100" i="1">
                <a:latin typeface="+mn-lt"/>
                <a:cs typeface="Tahoma" charset="0"/>
              </a:rPr>
              <a:t>crop</a:t>
            </a:r>
            <a:r>
              <a:rPr lang="en-US" sz="1100">
                <a:latin typeface="+mn-lt"/>
                <a:cs typeface="Tahoma" charset="0"/>
              </a:rPr>
              <a:t>. Now you can select the image section to be shown. </a:t>
            </a:r>
            <a:endParaRPr lang="en-US" sz="1000">
              <a:latin typeface="+mn-lt"/>
              <a:cs typeface="Tahoma" charset="0"/>
            </a:endParaRPr>
          </a:p>
        </p:txBody>
      </p:sp>
    </p:spTree>
    <p:extLst>
      <p:ext uri="{BB962C8B-B14F-4D97-AF65-F5344CB8AC3E}">
        <p14:creationId xmlns:p14="http://schemas.microsoft.com/office/powerpoint/2010/main" val="3643359244"/>
      </p:ext>
    </p:extLst>
  </p:cSld>
  <p:clrMapOvr>
    <a:masterClrMapping/>
  </p:clrMapOvr>
  <p:extLst>
    <p:ext uri="{DCECCB84-F9BA-43D5-87BE-67443E8EF086}">
      <p15:sldGuideLst xmlns:p15="http://schemas.microsoft.com/office/powerpoint/2012/main">
        <p15:guide id="1" orient="horz" pos="4201">
          <p15:clr>
            <a:srgbClr val="F26B43"/>
          </p15:clr>
        </p15:guide>
        <p15:guide id="2" pos="235">
          <p15:clr>
            <a:srgbClr val="F26B43"/>
          </p15:clr>
        </p15:guide>
        <p15:guide id="3" orient="horz" pos="1049">
          <p15:clr>
            <a:srgbClr val="F26B43"/>
          </p15:clr>
        </p15:guide>
        <p15:guide id="4" pos="7447">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ight pictures">
    <p:spTree>
      <p:nvGrpSpPr>
        <p:cNvPr id="1" name=""/>
        <p:cNvGrpSpPr/>
        <p:nvPr/>
      </p:nvGrpSpPr>
      <p:grpSpPr>
        <a:xfrm>
          <a:off x="0" y="0"/>
          <a:ext cx="0" cy="0"/>
          <a:chOff x="0" y="0"/>
          <a:chExt cx="0" cy="0"/>
        </a:xfrm>
      </p:grpSpPr>
      <p:sp>
        <p:nvSpPr>
          <p:cNvPr id="21" name="Fußzeilenplatzhalter 2" hidden="1">
            <a:extLst>
              <a:ext uri="{FF2B5EF4-FFF2-40B4-BE49-F238E27FC236}">
                <a16:creationId xmlns:a16="http://schemas.microsoft.com/office/drawing/2014/main" id="{567F4271-7501-4B9E-AA40-C3300C0AAC5D}"/>
              </a:ext>
            </a:extLst>
          </p:cNvPr>
          <p:cNvSpPr>
            <a:spLocks noGrp="1"/>
          </p:cNvSpPr>
          <p:nvPr>
            <p:ph type="ftr" sz="quarter" idx="26"/>
          </p:nvPr>
        </p:nvSpPr>
        <p:spPr>
          <a:xfrm rot="16200000">
            <a:off x="10021500" y="3555244"/>
            <a:ext cx="3960000" cy="180000"/>
          </a:xfrm>
        </p:spPr>
        <p:txBody>
          <a:bodyPr/>
          <a:lstStyle>
            <a:lvl1pPr>
              <a:defRPr>
                <a:noFill/>
              </a:defRPr>
            </a:lvl1pPr>
          </a:lstStyle>
          <a:p>
            <a:r>
              <a:rPr lang="en-US"/>
              <a:t>Footer of the presentation</a:t>
            </a:r>
          </a:p>
        </p:txBody>
      </p:sp>
      <p:sp>
        <p:nvSpPr>
          <p:cNvPr id="22" name="Foliennummernplatzhalter 4" hidden="1">
            <a:extLst>
              <a:ext uri="{FF2B5EF4-FFF2-40B4-BE49-F238E27FC236}">
                <a16:creationId xmlns:a16="http://schemas.microsoft.com/office/drawing/2014/main" id="{20D0A74F-52C0-4C27-890F-9E4575E3220F}"/>
              </a:ext>
            </a:extLst>
          </p:cNvPr>
          <p:cNvSpPr>
            <a:spLocks noGrp="1"/>
          </p:cNvSpPr>
          <p:nvPr>
            <p:ph type="sldNum" sz="quarter" idx="27"/>
          </p:nvPr>
        </p:nvSpPr>
        <p:spPr>
          <a:xfrm rot="16200000">
            <a:off x="11785500" y="6363360"/>
            <a:ext cx="432000" cy="180000"/>
          </a:xfrm>
        </p:spPr>
        <p:txBody>
          <a:bodyPr/>
          <a:lstStyle>
            <a:lvl1pPr>
              <a:defRPr>
                <a:noFill/>
              </a:defRPr>
            </a:lvl1pPr>
          </a:lstStyle>
          <a:p>
            <a:fld id="{0D1F56E0-B6F6-48D7-9539-F293D99B01ED}" type="slidenum">
              <a:rPr lang="en-US" smtClean="0"/>
              <a:pPr/>
              <a:t>‹#›</a:t>
            </a:fld>
            <a:endParaRPr lang="en-US"/>
          </a:p>
        </p:txBody>
      </p:sp>
      <p:sp>
        <p:nvSpPr>
          <p:cNvPr id="9" name="Picture Placeholder 6">
            <a:extLst>
              <a:ext uri="{FF2B5EF4-FFF2-40B4-BE49-F238E27FC236}">
                <a16:creationId xmlns:a16="http://schemas.microsoft.com/office/drawing/2014/main" id="{95CA0302-35CD-4823-B7E8-26207CC7FD08}"/>
              </a:ext>
            </a:extLst>
          </p:cNvPr>
          <p:cNvSpPr>
            <a:spLocks noGrp="1"/>
          </p:cNvSpPr>
          <p:nvPr>
            <p:ph type="pic" sz="quarter" idx="10"/>
          </p:nvPr>
        </p:nvSpPr>
        <p:spPr bwMode="gray">
          <a:xfrm>
            <a:off x="1" y="0"/>
            <a:ext cx="3060000" cy="2708274"/>
          </a:xfrm>
          <a:blipFill dpi="0" rotWithShape="1">
            <a:blip r:embed="rId2"/>
            <a:srcRect/>
            <a:stretch>
              <a:fillRect l="-44000" r="-50000"/>
            </a:stretch>
          </a:blipFill>
        </p:spPr>
        <p:txBody>
          <a:bodyPr tIns="0" bIns="792000" anchor="ctr"/>
          <a:lstStyle>
            <a:lvl1pPr algn="ctr">
              <a:defRPr sz="1200"/>
            </a:lvl1pPr>
          </a:lstStyle>
          <a:p>
            <a:r>
              <a:rPr lang="zh-CN" altLang="en-US"/>
              <a:t>单击图标添加图片</a:t>
            </a:r>
            <a:endParaRPr lang="en-GB"/>
          </a:p>
        </p:txBody>
      </p:sp>
      <p:sp>
        <p:nvSpPr>
          <p:cNvPr id="25" name="Picture Placeholder 6">
            <a:extLst>
              <a:ext uri="{FF2B5EF4-FFF2-40B4-BE49-F238E27FC236}">
                <a16:creationId xmlns:a16="http://schemas.microsoft.com/office/drawing/2014/main" id="{A65AD700-0157-40BD-B641-51FF8F2C32A4}"/>
              </a:ext>
            </a:extLst>
          </p:cNvPr>
          <p:cNvSpPr>
            <a:spLocks noGrp="1"/>
          </p:cNvSpPr>
          <p:nvPr>
            <p:ph type="pic" sz="quarter" idx="11"/>
          </p:nvPr>
        </p:nvSpPr>
        <p:spPr bwMode="gray">
          <a:xfrm>
            <a:off x="3045059" y="0"/>
            <a:ext cx="3060000" cy="2708274"/>
          </a:xfrm>
          <a:blipFill dpi="0" rotWithShape="1">
            <a:blip r:embed="rId2"/>
            <a:srcRect/>
            <a:stretch>
              <a:fillRect l="-44000" r="-50000"/>
            </a:stretch>
          </a:blipFill>
        </p:spPr>
        <p:txBody>
          <a:bodyPr tIns="0" bIns="792000" anchor="ctr"/>
          <a:lstStyle>
            <a:lvl1pPr algn="ctr">
              <a:defRPr sz="1200"/>
            </a:lvl1pPr>
          </a:lstStyle>
          <a:p>
            <a:r>
              <a:rPr lang="zh-CN" altLang="en-US"/>
              <a:t>单击图标添加图片</a:t>
            </a:r>
            <a:endParaRPr lang="en-GB"/>
          </a:p>
        </p:txBody>
      </p:sp>
      <p:sp>
        <p:nvSpPr>
          <p:cNvPr id="26" name="Picture Placeholder 6">
            <a:extLst>
              <a:ext uri="{FF2B5EF4-FFF2-40B4-BE49-F238E27FC236}">
                <a16:creationId xmlns:a16="http://schemas.microsoft.com/office/drawing/2014/main" id="{F422361F-F26D-4D47-80FF-1E1F92E055A5}"/>
              </a:ext>
            </a:extLst>
          </p:cNvPr>
          <p:cNvSpPr>
            <a:spLocks noGrp="1"/>
          </p:cNvSpPr>
          <p:nvPr>
            <p:ph type="pic" sz="quarter" idx="12"/>
          </p:nvPr>
        </p:nvSpPr>
        <p:spPr bwMode="gray">
          <a:xfrm>
            <a:off x="6090117" y="0"/>
            <a:ext cx="3060000" cy="2708274"/>
          </a:xfrm>
          <a:blipFill dpi="0" rotWithShape="1">
            <a:blip r:embed="rId2"/>
            <a:srcRect/>
            <a:stretch>
              <a:fillRect l="-44000" r="-50000"/>
            </a:stretch>
          </a:blipFill>
        </p:spPr>
        <p:txBody>
          <a:bodyPr tIns="0" bIns="792000" anchor="ctr"/>
          <a:lstStyle>
            <a:lvl1pPr algn="ctr">
              <a:defRPr sz="1200"/>
            </a:lvl1pPr>
          </a:lstStyle>
          <a:p>
            <a:r>
              <a:rPr lang="zh-CN" altLang="en-US"/>
              <a:t>单击图标添加图片</a:t>
            </a:r>
            <a:endParaRPr lang="en-GB"/>
          </a:p>
        </p:txBody>
      </p:sp>
      <p:sp>
        <p:nvSpPr>
          <p:cNvPr id="27" name="Picture Placeholder 6">
            <a:extLst>
              <a:ext uri="{FF2B5EF4-FFF2-40B4-BE49-F238E27FC236}">
                <a16:creationId xmlns:a16="http://schemas.microsoft.com/office/drawing/2014/main" id="{1FBDC9C7-A8C4-4BED-BE82-E9D2F2193F08}"/>
              </a:ext>
            </a:extLst>
          </p:cNvPr>
          <p:cNvSpPr>
            <a:spLocks noGrp="1"/>
          </p:cNvSpPr>
          <p:nvPr>
            <p:ph type="pic" sz="quarter" idx="13"/>
          </p:nvPr>
        </p:nvSpPr>
        <p:spPr bwMode="gray">
          <a:xfrm>
            <a:off x="9135175" y="0"/>
            <a:ext cx="3060000" cy="2708274"/>
          </a:xfrm>
          <a:blipFill dpi="0" rotWithShape="1">
            <a:blip r:embed="rId2"/>
            <a:srcRect/>
            <a:stretch>
              <a:fillRect l="-44000" r="-50000"/>
            </a:stretch>
          </a:blipFill>
        </p:spPr>
        <p:txBody>
          <a:bodyPr tIns="0" bIns="792000" anchor="ctr"/>
          <a:lstStyle>
            <a:lvl1pPr algn="ctr">
              <a:defRPr sz="1200"/>
            </a:lvl1pPr>
          </a:lstStyle>
          <a:p>
            <a:r>
              <a:rPr lang="zh-CN" altLang="en-US"/>
              <a:t>单击图标添加图片</a:t>
            </a:r>
            <a:endParaRPr lang="en-GB"/>
          </a:p>
        </p:txBody>
      </p:sp>
      <p:sp>
        <p:nvSpPr>
          <p:cNvPr id="3" name="Text Placeholder 2">
            <a:extLst>
              <a:ext uri="{FF2B5EF4-FFF2-40B4-BE49-F238E27FC236}">
                <a16:creationId xmlns:a16="http://schemas.microsoft.com/office/drawing/2014/main" id="{5628E24E-CCE5-4839-BDDE-2C3C5A1CF5C8}"/>
              </a:ext>
            </a:extLst>
          </p:cNvPr>
          <p:cNvSpPr>
            <a:spLocks noGrp="1"/>
          </p:cNvSpPr>
          <p:nvPr>
            <p:ph type="body" sz="quarter" idx="14" hasCustomPrompt="1"/>
          </p:nvPr>
        </p:nvSpPr>
        <p:spPr bwMode="gray">
          <a:xfrm>
            <a:off x="373063" y="2492848"/>
            <a:ext cx="2592000" cy="216000"/>
          </a:xfrm>
        </p:spPr>
        <p:txBody>
          <a:bodyPr/>
          <a:lstStyle>
            <a:lvl1pPr marL="0" indent="0">
              <a:spcAft>
                <a:spcPts val="0"/>
              </a:spcAft>
              <a:buFont typeface="Arial" panose="020B0604020202020204" pitchFamily="34" charset="0"/>
              <a:buNone/>
              <a:defRPr sz="1200">
                <a:solidFill>
                  <a:schemeClr val="bg1"/>
                </a:solidFill>
              </a:defRPr>
            </a:lvl1pPr>
            <a:lvl2pPr marL="0" indent="0">
              <a:spcAft>
                <a:spcPts val="0"/>
              </a:spcAft>
              <a:buFont typeface="Arial" panose="020B0604020202020204" pitchFamily="34" charset="0"/>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marL="0" indent="0">
              <a:spcAft>
                <a:spcPts val="0"/>
              </a:spcAft>
              <a:buNone/>
              <a:defRPr sz="1200">
                <a:solidFill>
                  <a:schemeClr val="bg1"/>
                </a:solidFill>
              </a:defRPr>
            </a:lvl5pPr>
          </a:lstStyle>
          <a:p>
            <a:pPr lvl="0"/>
            <a:r>
              <a:rPr lang="en-US"/>
              <a:t>Image description</a:t>
            </a:r>
          </a:p>
          <a:p>
            <a:pPr lvl="1"/>
            <a:r>
              <a:rPr lang="en-US"/>
              <a:t>Second level</a:t>
            </a:r>
          </a:p>
          <a:p>
            <a:pPr lvl="2"/>
            <a:r>
              <a:rPr lang="en-US"/>
              <a:t>Third level</a:t>
            </a:r>
          </a:p>
          <a:p>
            <a:pPr lvl="3"/>
            <a:r>
              <a:rPr lang="en-US"/>
              <a:t>Fourth level</a:t>
            </a:r>
          </a:p>
          <a:p>
            <a:pPr lvl="4"/>
            <a:r>
              <a:rPr lang="en-US"/>
              <a:t>Fifth level</a:t>
            </a:r>
          </a:p>
        </p:txBody>
      </p:sp>
      <p:sp>
        <p:nvSpPr>
          <p:cNvPr id="28" name="Text Placeholder 2">
            <a:extLst>
              <a:ext uri="{FF2B5EF4-FFF2-40B4-BE49-F238E27FC236}">
                <a16:creationId xmlns:a16="http://schemas.microsoft.com/office/drawing/2014/main" id="{AD49AEEF-7942-4B5E-BDEA-5A0184B894CE}"/>
              </a:ext>
            </a:extLst>
          </p:cNvPr>
          <p:cNvSpPr>
            <a:spLocks noGrp="1"/>
          </p:cNvSpPr>
          <p:nvPr>
            <p:ph type="body" sz="quarter" idx="15" hasCustomPrompt="1"/>
          </p:nvPr>
        </p:nvSpPr>
        <p:spPr bwMode="gray">
          <a:xfrm>
            <a:off x="3145579" y="2492848"/>
            <a:ext cx="2880000" cy="216000"/>
          </a:xfrm>
        </p:spPr>
        <p:txBody>
          <a:bodyPr/>
          <a:lstStyle>
            <a:lvl1pPr marL="0" indent="0">
              <a:spcAft>
                <a:spcPts val="0"/>
              </a:spcAft>
              <a:buFont typeface="Arial" panose="020B0604020202020204" pitchFamily="34" charset="0"/>
              <a:buNone/>
              <a:defRPr sz="1200">
                <a:solidFill>
                  <a:schemeClr val="bg1"/>
                </a:solidFill>
              </a:defRPr>
            </a:lvl1pPr>
            <a:lvl2pPr marL="0" indent="0">
              <a:spcAft>
                <a:spcPts val="0"/>
              </a:spcAft>
              <a:buFont typeface="Arial" panose="020B0604020202020204" pitchFamily="34" charset="0"/>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marL="0" indent="0">
              <a:spcAft>
                <a:spcPts val="0"/>
              </a:spcAft>
              <a:buNone/>
              <a:defRPr sz="1200">
                <a:solidFill>
                  <a:schemeClr val="bg1"/>
                </a:solidFill>
              </a:defRPr>
            </a:lvl5pPr>
          </a:lstStyle>
          <a:p>
            <a:pPr lvl="0"/>
            <a:r>
              <a:rPr lang="en-US"/>
              <a:t>Image description</a:t>
            </a:r>
          </a:p>
          <a:p>
            <a:pPr lvl="1"/>
            <a:r>
              <a:rPr lang="en-US"/>
              <a:t>Second level</a:t>
            </a:r>
          </a:p>
          <a:p>
            <a:pPr lvl="2"/>
            <a:r>
              <a:rPr lang="en-US"/>
              <a:t>Third level</a:t>
            </a:r>
          </a:p>
          <a:p>
            <a:pPr lvl="3"/>
            <a:r>
              <a:rPr lang="en-US"/>
              <a:t>Fourth level</a:t>
            </a:r>
          </a:p>
          <a:p>
            <a:pPr lvl="4"/>
            <a:r>
              <a:rPr lang="en-US"/>
              <a:t>Fifth level</a:t>
            </a:r>
          </a:p>
        </p:txBody>
      </p:sp>
      <p:sp>
        <p:nvSpPr>
          <p:cNvPr id="29" name="Text Placeholder 2">
            <a:extLst>
              <a:ext uri="{FF2B5EF4-FFF2-40B4-BE49-F238E27FC236}">
                <a16:creationId xmlns:a16="http://schemas.microsoft.com/office/drawing/2014/main" id="{11C7737B-2F6F-4AFB-8070-563B2FEAA110}"/>
              </a:ext>
            </a:extLst>
          </p:cNvPr>
          <p:cNvSpPr>
            <a:spLocks noGrp="1"/>
          </p:cNvSpPr>
          <p:nvPr>
            <p:ph type="body" sz="quarter" idx="16" hasCustomPrompt="1"/>
          </p:nvPr>
        </p:nvSpPr>
        <p:spPr bwMode="gray">
          <a:xfrm>
            <a:off x="6169915" y="2492848"/>
            <a:ext cx="2880000" cy="216000"/>
          </a:xfrm>
        </p:spPr>
        <p:txBody>
          <a:bodyPr/>
          <a:lstStyle>
            <a:lvl1pPr marL="0" indent="0">
              <a:spcAft>
                <a:spcPts val="0"/>
              </a:spcAft>
              <a:buFont typeface="Arial" panose="020B0604020202020204" pitchFamily="34" charset="0"/>
              <a:buNone/>
              <a:defRPr sz="1200">
                <a:solidFill>
                  <a:schemeClr val="bg1"/>
                </a:solidFill>
              </a:defRPr>
            </a:lvl1pPr>
            <a:lvl2pPr marL="0" indent="0">
              <a:spcAft>
                <a:spcPts val="0"/>
              </a:spcAft>
              <a:buFont typeface="Arial" panose="020B0604020202020204" pitchFamily="34" charset="0"/>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marL="0" indent="0">
              <a:spcAft>
                <a:spcPts val="0"/>
              </a:spcAft>
              <a:buNone/>
              <a:defRPr sz="1200">
                <a:solidFill>
                  <a:schemeClr val="bg1"/>
                </a:solidFill>
              </a:defRPr>
            </a:lvl5pPr>
          </a:lstStyle>
          <a:p>
            <a:pPr lvl="0"/>
            <a:r>
              <a:rPr lang="en-US"/>
              <a:t>Image description</a:t>
            </a:r>
          </a:p>
          <a:p>
            <a:pPr lvl="1"/>
            <a:r>
              <a:rPr lang="en-US"/>
              <a:t>Second level</a:t>
            </a:r>
          </a:p>
          <a:p>
            <a:pPr lvl="2"/>
            <a:r>
              <a:rPr lang="en-US"/>
              <a:t>Third level</a:t>
            </a:r>
          </a:p>
          <a:p>
            <a:pPr lvl="3"/>
            <a:r>
              <a:rPr lang="en-US"/>
              <a:t>Fourth level</a:t>
            </a:r>
          </a:p>
          <a:p>
            <a:pPr lvl="4"/>
            <a:r>
              <a:rPr lang="en-US"/>
              <a:t>Fifth level</a:t>
            </a:r>
          </a:p>
        </p:txBody>
      </p:sp>
      <p:sp>
        <p:nvSpPr>
          <p:cNvPr id="30" name="Text Placeholder 2">
            <a:extLst>
              <a:ext uri="{FF2B5EF4-FFF2-40B4-BE49-F238E27FC236}">
                <a16:creationId xmlns:a16="http://schemas.microsoft.com/office/drawing/2014/main" id="{2276F1FF-0205-4BAC-8F45-C53D397D145A}"/>
              </a:ext>
            </a:extLst>
          </p:cNvPr>
          <p:cNvSpPr>
            <a:spLocks noGrp="1"/>
          </p:cNvSpPr>
          <p:nvPr>
            <p:ph type="body" sz="quarter" idx="17" hasCustomPrompt="1"/>
          </p:nvPr>
        </p:nvSpPr>
        <p:spPr bwMode="gray">
          <a:xfrm>
            <a:off x="9193931" y="2492848"/>
            <a:ext cx="2628182" cy="216000"/>
          </a:xfrm>
        </p:spPr>
        <p:txBody>
          <a:bodyPr/>
          <a:lstStyle>
            <a:lvl1pPr marL="0" indent="0">
              <a:spcAft>
                <a:spcPts val="0"/>
              </a:spcAft>
              <a:buFont typeface="Arial" panose="020B0604020202020204" pitchFamily="34" charset="0"/>
              <a:buNone/>
              <a:defRPr sz="1200">
                <a:solidFill>
                  <a:schemeClr val="bg1"/>
                </a:solidFill>
              </a:defRPr>
            </a:lvl1pPr>
            <a:lvl2pPr marL="0" indent="0">
              <a:spcAft>
                <a:spcPts val="0"/>
              </a:spcAft>
              <a:buFont typeface="Arial" panose="020B0604020202020204" pitchFamily="34" charset="0"/>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marL="0" indent="0">
              <a:spcAft>
                <a:spcPts val="0"/>
              </a:spcAft>
              <a:buNone/>
              <a:defRPr sz="1200">
                <a:solidFill>
                  <a:schemeClr val="bg1"/>
                </a:solidFill>
              </a:defRPr>
            </a:lvl5pPr>
          </a:lstStyle>
          <a:p>
            <a:pPr lvl="0"/>
            <a:r>
              <a:rPr lang="en-US"/>
              <a:t>Image description</a:t>
            </a:r>
          </a:p>
          <a:p>
            <a:pPr lvl="1"/>
            <a:r>
              <a:rPr lang="en-US"/>
              <a:t>Second level</a:t>
            </a:r>
          </a:p>
          <a:p>
            <a:pPr lvl="2"/>
            <a:r>
              <a:rPr lang="en-US"/>
              <a:t>Third level</a:t>
            </a:r>
          </a:p>
          <a:p>
            <a:pPr lvl="3"/>
            <a:r>
              <a:rPr lang="en-US"/>
              <a:t>Fourth level</a:t>
            </a:r>
          </a:p>
          <a:p>
            <a:pPr lvl="4"/>
            <a:r>
              <a:rPr lang="en-US"/>
              <a:t>Fifth level</a:t>
            </a:r>
          </a:p>
        </p:txBody>
      </p:sp>
      <p:sp>
        <p:nvSpPr>
          <p:cNvPr id="31" name="Picture Placeholder 6">
            <a:extLst>
              <a:ext uri="{FF2B5EF4-FFF2-40B4-BE49-F238E27FC236}">
                <a16:creationId xmlns:a16="http://schemas.microsoft.com/office/drawing/2014/main" id="{58E3CE9F-682B-4AFC-BF42-B69620047CAF}"/>
              </a:ext>
            </a:extLst>
          </p:cNvPr>
          <p:cNvSpPr>
            <a:spLocks noGrp="1"/>
          </p:cNvSpPr>
          <p:nvPr>
            <p:ph type="pic" sz="quarter" idx="18"/>
          </p:nvPr>
        </p:nvSpPr>
        <p:spPr bwMode="gray">
          <a:xfrm>
            <a:off x="0" y="4149726"/>
            <a:ext cx="3060000" cy="2708274"/>
          </a:xfrm>
          <a:blipFill dpi="0" rotWithShape="1">
            <a:blip r:embed="rId2"/>
            <a:srcRect/>
            <a:stretch>
              <a:fillRect l="-44000" r="-50000"/>
            </a:stretch>
          </a:blipFill>
        </p:spPr>
        <p:txBody>
          <a:bodyPr tIns="0" bIns="792000" anchor="ctr"/>
          <a:lstStyle>
            <a:lvl1pPr algn="ctr">
              <a:defRPr sz="1200"/>
            </a:lvl1pPr>
          </a:lstStyle>
          <a:p>
            <a:r>
              <a:rPr lang="zh-CN" altLang="en-US"/>
              <a:t>单击图标添加图片</a:t>
            </a:r>
            <a:endParaRPr lang="en-GB"/>
          </a:p>
        </p:txBody>
      </p:sp>
      <p:sp>
        <p:nvSpPr>
          <p:cNvPr id="32" name="Picture Placeholder 6">
            <a:extLst>
              <a:ext uri="{FF2B5EF4-FFF2-40B4-BE49-F238E27FC236}">
                <a16:creationId xmlns:a16="http://schemas.microsoft.com/office/drawing/2014/main" id="{E62F5532-54AD-46AF-A690-50357ACE8513}"/>
              </a:ext>
            </a:extLst>
          </p:cNvPr>
          <p:cNvSpPr>
            <a:spLocks noGrp="1"/>
          </p:cNvSpPr>
          <p:nvPr>
            <p:ph type="pic" sz="quarter" idx="19"/>
          </p:nvPr>
        </p:nvSpPr>
        <p:spPr bwMode="gray">
          <a:xfrm>
            <a:off x="3045058" y="4149726"/>
            <a:ext cx="3060000" cy="2708274"/>
          </a:xfrm>
          <a:blipFill dpi="0" rotWithShape="1">
            <a:blip r:embed="rId2"/>
            <a:srcRect/>
            <a:stretch>
              <a:fillRect l="-44000" r="-50000"/>
            </a:stretch>
          </a:blipFill>
        </p:spPr>
        <p:txBody>
          <a:bodyPr tIns="0" bIns="792000" anchor="ctr"/>
          <a:lstStyle>
            <a:lvl1pPr algn="ctr">
              <a:defRPr sz="1200"/>
            </a:lvl1pPr>
          </a:lstStyle>
          <a:p>
            <a:r>
              <a:rPr lang="zh-CN" altLang="en-US"/>
              <a:t>单击图标添加图片</a:t>
            </a:r>
            <a:endParaRPr lang="en-GB"/>
          </a:p>
        </p:txBody>
      </p:sp>
      <p:sp>
        <p:nvSpPr>
          <p:cNvPr id="33" name="Picture Placeholder 6">
            <a:extLst>
              <a:ext uri="{FF2B5EF4-FFF2-40B4-BE49-F238E27FC236}">
                <a16:creationId xmlns:a16="http://schemas.microsoft.com/office/drawing/2014/main" id="{8DB7958F-8C11-4918-93F1-120D855EEC81}"/>
              </a:ext>
            </a:extLst>
          </p:cNvPr>
          <p:cNvSpPr>
            <a:spLocks noGrp="1"/>
          </p:cNvSpPr>
          <p:nvPr>
            <p:ph type="pic" sz="quarter" idx="20"/>
          </p:nvPr>
        </p:nvSpPr>
        <p:spPr bwMode="gray">
          <a:xfrm>
            <a:off x="6090116" y="4149726"/>
            <a:ext cx="3060000" cy="2708274"/>
          </a:xfrm>
          <a:blipFill dpi="0" rotWithShape="1">
            <a:blip r:embed="rId2"/>
            <a:srcRect/>
            <a:stretch>
              <a:fillRect l="-44000" r="-50000"/>
            </a:stretch>
          </a:blipFill>
        </p:spPr>
        <p:txBody>
          <a:bodyPr tIns="0" bIns="792000" anchor="ctr"/>
          <a:lstStyle>
            <a:lvl1pPr algn="ctr">
              <a:defRPr sz="1200"/>
            </a:lvl1pPr>
          </a:lstStyle>
          <a:p>
            <a:r>
              <a:rPr lang="zh-CN" altLang="en-US"/>
              <a:t>单击图标添加图片</a:t>
            </a:r>
            <a:endParaRPr lang="en-GB"/>
          </a:p>
        </p:txBody>
      </p:sp>
      <p:sp>
        <p:nvSpPr>
          <p:cNvPr id="34" name="Picture Placeholder 6">
            <a:extLst>
              <a:ext uri="{FF2B5EF4-FFF2-40B4-BE49-F238E27FC236}">
                <a16:creationId xmlns:a16="http://schemas.microsoft.com/office/drawing/2014/main" id="{0077686D-36F9-4448-BB0F-6575EE955BB9}"/>
              </a:ext>
            </a:extLst>
          </p:cNvPr>
          <p:cNvSpPr>
            <a:spLocks noGrp="1"/>
          </p:cNvSpPr>
          <p:nvPr>
            <p:ph type="pic" sz="quarter" idx="21"/>
          </p:nvPr>
        </p:nvSpPr>
        <p:spPr bwMode="gray">
          <a:xfrm>
            <a:off x="9135174" y="4149726"/>
            <a:ext cx="3060000" cy="2708274"/>
          </a:xfrm>
          <a:blipFill dpi="0" rotWithShape="1">
            <a:blip r:embed="rId2"/>
            <a:srcRect/>
            <a:stretch>
              <a:fillRect l="-44000" r="-50000"/>
            </a:stretch>
          </a:blipFill>
        </p:spPr>
        <p:txBody>
          <a:bodyPr tIns="0" bIns="792000" anchor="ctr"/>
          <a:lstStyle>
            <a:lvl1pPr algn="ctr">
              <a:defRPr sz="1200"/>
            </a:lvl1pPr>
          </a:lstStyle>
          <a:p>
            <a:r>
              <a:rPr lang="zh-CN" altLang="en-US"/>
              <a:t>单击图标添加图片</a:t>
            </a:r>
            <a:endParaRPr lang="en-GB"/>
          </a:p>
        </p:txBody>
      </p:sp>
      <p:sp>
        <p:nvSpPr>
          <p:cNvPr id="35" name="Text Placeholder 2">
            <a:extLst>
              <a:ext uri="{FF2B5EF4-FFF2-40B4-BE49-F238E27FC236}">
                <a16:creationId xmlns:a16="http://schemas.microsoft.com/office/drawing/2014/main" id="{81556ADA-ED42-4420-97C0-1EFFBAED6415}"/>
              </a:ext>
            </a:extLst>
          </p:cNvPr>
          <p:cNvSpPr>
            <a:spLocks noGrp="1"/>
          </p:cNvSpPr>
          <p:nvPr>
            <p:ph type="body" sz="quarter" idx="22" hasCustomPrompt="1"/>
          </p:nvPr>
        </p:nvSpPr>
        <p:spPr bwMode="gray">
          <a:xfrm>
            <a:off x="372951" y="6453336"/>
            <a:ext cx="2592000" cy="216000"/>
          </a:xfrm>
        </p:spPr>
        <p:txBody>
          <a:bodyPr/>
          <a:lstStyle>
            <a:lvl1pPr marL="0" indent="0">
              <a:spcAft>
                <a:spcPts val="0"/>
              </a:spcAft>
              <a:buFont typeface="Arial" panose="020B0604020202020204" pitchFamily="34" charset="0"/>
              <a:buNone/>
              <a:defRPr sz="1200">
                <a:solidFill>
                  <a:schemeClr val="bg1"/>
                </a:solidFill>
              </a:defRPr>
            </a:lvl1pPr>
            <a:lvl2pPr marL="0" indent="0">
              <a:spcAft>
                <a:spcPts val="0"/>
              </a:spcAft>
              <a:buFont typeface="Arial" panose="020B0604020202020204" pitchFamily="34" charset="0"/>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marL="0" indent="0">
              <a:spcAft>
                <a:spcPts val="0"/>
              </a:spcAft>
              <a:buNone/>
              <a:defRPr sz="1200">
                <a:solidFill>
                  <a:schemeClr val="bg1"/>
                </a:solidFill>
              </a:defRPr>
            </a:lvl5pPr>
          </a:lstStyle>
          <a:p>
            <a:pPr lvl="0"/>
            <a:r>
              <a:rPr lang="en-US"/>
              <a:t>Image description</a:t>
            </a:r>
          </a:p>
          <a:p>
            <a:pPr lvl="1"/>
            <a:r>
              <a:rPr lang="en-US"/>
              <a:t>Second level</a:t>
            </a:r>
          </a:p>
          <a:p>
            <a:pPr lvl="2"/>
            <a:r>
              <a:rPr lang="en-US"/>
              <a:t>Third level</a:t>
            </a:r>
          </a:p>
          <a:p>
            <a:pPr lvl="3"/>
            <a:r>
              <a:rPr lang="en-US"/>
              <a:t>Fourth level</a:t>
            </a:r>
          </a:p>
          <a:p>
            <a:pPr lvl="4"/>
            <a:r>
              <a:rPr lang="en-US"/>
              <a:t>Fifth level</a:t>
            </a:r>
          </a:p>
        </p:txBody>
      </p:sp>
      <p:sp>
        <p:nvSpPr>
          <p:cNvPr id="36" name="Text Placeholder 2">
            <a:extLst>
              <a:ext uri="{FF2B5EF4-FFF2-40B4-BE49-F238E27FC236}">
                <a16:creationId xmlns:a16="http://schemas.microsoft.com/office/drawing/2014/main" id="{4EE4C3D4-C4E8-4D22-BA0A-BD88E25543AA}"/>
              </a:ext>
            </a:extLst>
          </p:cNvPr>
          <p:cNvSpPr>
            <a:spLocks noGrp="1"/>
          </p:cNvSpPr>
          <p:nvPr>
            <p:ph type="body" sz="quarter" idx="23" hasCustomPrompt="1"/>
          </p:nvPr>
        </p:nvSpPr>
        <p:spPr bwMode="gray">
          <a:xfrm>
            <a:off x="3145467" y="6453336"/>
            <a:ext cx="2880000" cy="216000"/>
          </a:xfrm>
        </p:spPr>
        <p:txBody>
          <a:bodyPr/>
          <a:lstStyle>
            <a:lvl1pPr marL="0" indent="0">
              <a:spcAft>
                <a:spcPts val="0"/>
              </a:spcAft>
              <a:buFont typeface="Arial" panose="020B0604020202020204" pitchFamily="34" charset="0"/>
              <a:buNone/>
              <a:defRPr sz="1200">
                <a:solidFill>
                  <a:schemeClr val="bg1"/>
                </a:solidFill>
              </a:defRPr>
            </a:lvl1pPr>
            <a:lvl2pPr marL="0" indent="0">
              <a:spcAft>
                <a:spcPts val="0"/>
              </a:spcAft>
              <a:buFont typeface="Arial" panose="020B0604020202020204" pitchFamily="34" charset="0"/>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marL="0" indent="0">
              <a:spcAft>
                <a:spcPts val="0"/>
              </a:spcAft>
              <a:buNone/>
              <a:defRPr sz="1200">
                <a:solidFill>
                  <a:schemeClr val="bg1"/>
                </a:solidFill>
              </a:defRPr>
            </a:lvl5pPr>
          </a:lstStyle>
          <a:p>
            <a:pPr lvl="0"/>
            <a:r>
              <a:rPr lang="en-US"/>
              <a:t>Image description</a:t>
            </a:r>
          </a:p>
          <a:p>
            <a:pPr lvl="1"/>
            <a:r>
              <a:rPr lang="en-US"/>
              <a:t>Second level</a:t>
            </a:r>
          </a:p>
          <a:p>
            <a:pPr lvl="2"/>
            <a:r>
              <a:rPr lang="en-US"/>
              <a:t>Third level</a:t>
            </a:r>
          </a:p>
          <a:p>
            <a:pPr lvl="3"/>
            <a:r>
              <a:rPr lang="en-US"/>
              <a:t>Fourth level</a:t>
            </a:r>
          </a:p>
          <a:p>
            <a:pPr lvl="4"/>
            <a:r>
              <a:rPr lang="en-US"/>
              <a:t>Fifth level</a:t>
            </a:r>
          </a:p>
        </p:txBody>
      </p:sp>
      <p:sp>
        <p:nvSpPr>
          <p:cNvPr id="37" name="Text Placeholder 2">
            <a:extLst>
              <a:ext uri="{FF2B5EF4-FFF2-40B4-BE49-F238E27FC236}">
                <a16:creationId xmlns:a16="http://schemas.microsoft.com/office/drawing/2014/main" id="{EB31B4C3-FE40-48CC-89DC-570C7BA5CC43}"/>
              </a:ext>
            </a:extLst>
          </p:cNvPr>
          <p:cNvSpPr>
            <a:spLocks noGrp="1"/>
          </p:cNvSpPr>
          <p:nvPr>
            <p:ph type="body" sz="quarter" idx="24" hasCustomPrompt="1"/>
          </p:nvPr>
        </p:nvSpPr>
        <p:spPr bwMode="gray">
          <a:xfrm>
            <a:off x="6169803" y="6453336"/>
            <a:ext cx="2880000" cy="216000"/>
          </a:xfrm>
        </p:spPr>
        <p:txBody>
          <a:bodyPr/>
          <a:lstStyle>
            <a:lvl1pPr marL="0" indent="0">
              <a:spcAft>
                <a:spcPts val="0"/>
              </a:spcAft>
              <a:buFont typeface="Arial" panose="020B0604020202020204" pitchFamily="34" charset="0"/>
              <a:buNone/>
              <a:defRPr sz="1200">
                <a:solidFill>
                  <a:schemeClr val="bg1"/>
                </a:solidFill>
              </a:defRPr>
            </a:lvl1pPr>
            <a:lvl2pPr marL="0" indent="0">
              <a:spcAft>
                <a:spcPts val="0"/>
              </a:spcAft>
              <a:buFont typeface="Arial" panose="020B0604020202020204" pitchFamily="34" charset="0"/>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marL="0" indent="0">
              <a:spcAft>
                <a:spcPts val="0"/>
              </a:spcAft>
              <a:buNone/>
              <a:defRPr sz="1200">
                <a:solidFill>
                  <a:schemeClr val="bg1"/>
                </a:solidFill>
              </a:defRPr>
            </a:lvl5pPr>
          </a:lstStyle>
          <a:p>
            <a:pPr lvl="0"/>
            <a:r>
              <a:rPr lang="en-US"/>
              <a:t>Image description</a:t>
            </a:r>
          </a:p>
          <a:p>
            <a:pPr lvl="1"/>
            <a:r>
              <a:rPr lang="en-US"/>
              <a:t>Second level</a:t>
            </a:r>
          </a:p>
          <a:p>
            <a:pPr lvl="2"/>
            <a:r>
              <a:rPr lang="en-US"/>
              <a:t>Third level</a:t>
            </a:r>
          </a:p>
          <a:p>
            <a:pPr lvl="3"/>
            <a:r>
              <a:rPr lang="en-US"/>
              <a:t>Fourth level</a:t>
            </a:r>
          </a:p>
          <a:p>
            <a:pPr lvl="4"/>
            <a:r>
              <a:rPr lang="en-US"/>
              <a:t>Fifth level</a:t>
            </a:r>
          </a:p>
        </p:txBody>
      </p:sp>
      <p:sp>
        <p:nvSpPr>
          <p:cNvPr id="38" name="Text Placeholder 2">
            <a:extLst>
              <a:ext uri="{FF2B5EF4-FFF2-40B4-BE49-F238E27FC236}">
                <a16:creationId xmlns:a16="http://schemas.microsoft.com/office/drawing/2014/main" id="{085674CE-54CC-4563-B28E-7EE62D868B8A}"/>
              </a:ext>
            </a:extLst>
          </p:cNvPr>
          <p:cNvSpPr>
            <a:spLocks noGrp="1"/>
          </p:cNvSpPr>
          <p:nvPr>
            <p:ph type="body" sz="quarter" idx="25" hasCustomPrompt="1"/>
          </p:nvPr>
        </p:nvSpPr>
        <p:spPr bwMode="gray">
          <a:xfrm>
            <a:off x="9193819" y="6453336"/>
            <a:ext cx="2628182" cy="216000"/>
          </a:xfrm>
        </p:spPr>
        <p:txBody>
          <a:bodyPr/>
          <a:lstStyle>
            <a:lvl1pPr marL="0" indent="0">
              <a:spcAft>
                <a:spcPts val="0"/>
              </a:spcAft>
              <a:buFont typeface="Arial" panose="020B0604020202020204" pitchFamily="34" charset="0"/>
              <a:buNone/>
              <a:defRPr sz="1200">
                <a:solidFill>
                  <a:schemeClr val="bg1"/>
                </a:solidFill>
              </a:defRPr>
            </a:lvl1pPr>
            <a:lvl2pPr marL="0" indent="0">
              <a:spcAft>
                <a:spcPts val="0"/>
              </a:spcAft>
              <a:buFont typeface="Arial" panose="020B0604020202020204" pitchFamily="34" charset="0"/>
              <a:buNone/>
              <a:defRPr sz="1200">
                <a:solidFill>
                  <a:schemeClr val="bg1"/>
                </a:solidFill>
              </a:defRPr>
            </a:lvl2pPr>
            <a:lvl3pPr marL="0" indent="0">
              <a:spcAft>
                <a:spcPts val="0"/>
              </a:spcAft>
              <a:buNone/>
              <a:defRPr sz="1200">
                <a:solidFill>
                  <a:schemeClr val="bg1"/>
                </a:solidFill>
              </a:defRPr>
            </a:lvl3pPr>
            <a:lvl4pPr marL="0" indent="0">
              <a:spcAft>
                <a:spcPts val="0"/>
              </a:spcAft>
              <a:buNone/>
              <a:defRPr sz="1200">
                <a:solidFill>
                  <a:schemeClr val="bg1"/>
                </a:solidFill>
              </a:defRPr>
            </a:lvl4pPr>
            <a:lvl5pPr marL="0" indent="0">
              <a:spcAft>
                <a:spcPts val="0"/>
              </a:spcAft>
              <a:buNone/>
              <a:defRPr sz="1200">
                <a:solidFill>
                  <a:schemeClr val="bg1"/>
                </a:solidFill>
              </a:defRPr>
            </a:lvl5pPr>
          </a:lstStyle>
          <a:p>
            <a:pPr lvl="0"/>
            <a:r>
              <a:rPr lang="en-US"/>
              <a:t>Image description</a:t>
            </a:r>
          </a:p>
          <a:p>
            <a:pPr lvl="1"/>
            <a:r>
              <a:rPr lang="en-US"/>
              <a:t>Second level</a:t>
            </a:r>
          </a:p>
          <a:p>
            <a:pPr lvl="2"/>
            <a:r>
              <a:rPr lang="en-US"/>
              <a:t>Third level</a:t>
            </a:r>
          </a:p>
          <a:p>
            <a:pPr lvl="3"/>
            <a:r>
              <a:rPr lang="en-US"/>
              <a:t>Fourth level</a:t>
            </a:r>
          </a:p>
          <a:p>
            <a:pPr lvl="4"/>
            <a:r>
              <a:rPr lang="en-US"/>
              <a:t>Fifth level</a:t>
            </a:r>
          </a:p>
        </p:txBody>
      </p:sp>
      <p:sp>
        <p:nvSpPr>
          <p:cNvPr id="6" name="Title 5">
            <a:extLst>
              <a:ext uri="{FF2B5EF4-FFF2-40B4-BE49-F238E27FC236}">
                <a16:creationId xmlns:a16="http://schemas.microsoft.com/office/drawing/2014/main" id="{40838088-0A0E-4764-8965-9AF750E1E18C}"/>
              </a:ext>
            </a:extLst>
          </p:cNvPr>
          <p:cNvSpPr>
            <a:spLocks noGrp="1"/>
          </p:cNvSpPr>
          <p:nvPr>
            <p:ph type="title"/>
          </p:nvPr>
        </p:nvSpPr>
        <p:spPr bwMode="gray">
          <a:xfrm>
            <a:off x="372951" y="3032956"/>
            <a:ext cx="11449049" cy="936000"/>
          </a:xfrm>
        </p:spPr>
        <p:txBody>
          <a:bodyPr/>
          <a:lstStyle>
            <a:lvl1pPr>
              <a:defRPr/>
            </a:lvl1pPr>
          </a:lstStyle>
          <a:p>
            <a:r>
              <a:rPr lang="zh-CN" altLang="en-US"/>
              <a:t>单击此处编辑母版标题样式</a:t>
            </a:r>
            <a:endParaRPr lang="en-US"/>
          </a:p>
        </p:txBody>
      </p:sp>
      <p:sp>
        <p:nvSpPr>
          <p:cNvPr id="20" name="Textfeld 11">
            <a:extLst>
              <a:ext uri="{FF2B5EF4-FFF2-40B4-BE49-F238E27FC236}">
                <a16:creationId xmlns:a16="http://schemas.microsoft.com/office/drawing/2014/main" id="{633D5FFC-5EAC-4CDA-AB0E-CF657478C136}"/>
              </a:ext>
            </a:extLst>
          </p:cNvPr>
          <p:cNvSpPr txBox="1">
            <a:spLocks noChangeArrowheads="1"/>
          </p:cNvSpPr>
          <p:nvPr userDrawn="1"/>
        </p:nvSpPr>
        <p:spPr bwMode="auto">
          <a:xfrm>
            <a:off x="-2291345" y="209164"/>
            <a:ext cx="2067146" cy="2672916"/>
          </a:xfrm>
          <a:prstGeom prst="rect">
            <a:avLst/>
          </a:prstGeom>
          <a:solidFill>
            <a:schemeClr val="bg1">
              <a:lumMod val="95000"/>
            </a:schemeClr>
          </a:solidFill>
          <a:ln>
            <a:solidFill>
              <a:srgbClr val="BFBFBF"/>
            </a:solidFill>
          </a:ln>
        </p:spPr>
        <p:txBody>
          <a:bodyPr wrap="square" lIns="35996" tIns="35996" rIns="35996" bIns="35996">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eaLnBrk="1" fontAlgn="base" hangingPunct="1">
              <a:spcBef>
                <a:spcPct val="0"/>
              </a:spcBef>
              <a:spcAft>
                <a:spcPct val="0"/>
              </a:spcAft>
            </a:pPr>
            <a:r>
              <a:rPr lang="en-US" sz="1100">
                <a:solidFill>
                  <a:schemeClr val="bg2"/>
                </a:solidFill>
                <a:latin typeface="+mn-lt"/>
                <a:cs typeface="Tahoma" charset="0"/>
              </a:rPr>
              <a:t>How to insert a photo?</a:t>
            </a:r>
            <a:endParaRPr lang="en-US" sz="1100">
              <a:latin typeface="+mn-lt"/>
              <a:cs typeface="Tahoma" charset="0"/>
            </a:endParaRPr>
          </a:p>
          <a:p>
            <a:pPr eaLnBrk="1" fontAlgn="base" hangingPunct="1">
              <a:spcBef>
                <a:spcPct val="0"/>
              </a:spcBef>
              <a:spcAft>
                <a:spcPct val="0"/>
              </a:spcAft>
            </a:pPr>
            <a:r>
              <a:rPr lang="en-US" sz="1100">
                <a:latin typeface="+mn-lt"/>
                <a:cs typeface="Tahoma" charset="0"/>
              </a:rPr>
              <a:t>Click the icon to add a picture from a file, or open the Cumulus Browser and select an image, click on the placeholder, and click insert in the Cumulus Browser. The image will be inserted to fit the size of the placeholder. </a:t>
            </a:r>
          </a:p>
          <a:p>
            <a:pPr eaLnBrk="1" fontAlgn="base" hangingPunct="1">
              <a:spcBef>
                <a:spcPct val="0"/>
              </a:spcBef>
              <a:spcAft>
                <a:spcPct val="0"/>
              </a:spcAft>
            </a:pPr>
            <a:endParaRPr lang="en-US" sz="1100">
              <a:latin typeface="+mn-lt"/>
              <a:cs typeface="Tahoma" charset="0"/>
            </a:endParaRPr>
          </a:p>
          <a:p>
            <a:pPr eaLnBrk="1" fontAlgn="base" hangingPunct="1">
              <a:spcBef>
                <a:spcPct val="0"/>
              </a:spcBef>
              <a:spcAft>
                <a:spcPct val="0"/>
              </a:spcAft>
            </a:pPr>
            <a:r>
              <a:rPr lang="en-US" sz="1100">
                <a:solidFill>
                  <a:schemeClr val="bg2"/>
                </a:solidFill>
                <a:latin typeface="+mn-lt"/>
                <a:cs typeface="Tahoma" charset="0"/>
              </a:rPr>
              <a:t>Want to customize the image section? </a:t>
            </a:r>
          </a:p>
          <a:p>
            <a:pPr eaLnBrk="1" fontAlgn="base" hangingPunct="1">
              <a:spcBef>
                <a:spcPct val="0"/>
              </a:spcBef>
              <a:spcAft>
                <a:spcPct val="0"/>
              </a:spcAft>
            </a:pPr>
            <a:r>
              <a:rPr lang="en-US" sz="1100">
                <a:latin typeface="+mn-lt"/>
                <a:cs typeface="Tahoma" charset="0"/>
              </a:rPr>
              <a:t>Select the image, right-click and choose </a:t>
            </a:r>
            <a:r>
              <a:rPr lang="en-US" sz="1100" i="1">
                <a:latin typeface="+mn-lt"/>
                <a:cs typeface="Tahoma" charset="0"/>
              </a:rPr>
              <a:t>crop</a:t>
            </a:r>
            <a:r>
              <a:rPr lang="en-US" sz="1100">
                <a:latin typeface="+mn-lt"/>
                <a:cs typeface="Tahoma" charset="0"/>
              </a:rPr>
              <a:t>. Now you can select the image section to be shown. </a:t>
            </a:r>
            <a:endParaRPr lang="en-US" sz="1000">
              <a:latin typeface="+mn-lt"/>
              <a:cs typeface="Tahoma" charset="0"/>
            </a:endParaRPr>
          </a:p>
        </p:txBody>
      </p:sp>
    </p:spTree>
    <p:extLst>
      <p:ext uri="{BB962C8B-B14F-4D97-AF65-F5344CB8AC3E}">
        <p14:creationId xmlns:p14="http://schemas.microsoft.com/office/powerpoint/2010/main" val="259577651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ne contact">
    <p:spTree>
      <p:nvGrpSpPr>
        <p:cNvPr id="1" name=""/>
        <p:cNvGrpSpPr/>
        <p:nvPr/>
      </p:nvGrpSpPr>
      <p:grpSpPr>
        <a:xfrm>
          <a:off x="0" y="0"/>
          <a:ext cx="0" cy="0"/>
          <a:chOff x="0" y="0"/>
          <a:chExt cx="0" cy="0"/>
        </a:xfrm>
      </p:grpSpPr>
      <p:sp>
        <p:nvSpPr>
          <p:cNvPr id="10" name="Fußzeilenplatzhalter 2" hidden="1">
            <a:extLst>
              <a:ext uri="{FF2B5EF4-FFF2-40B4-BE49-F238E27FC236}">
                <a16:creationId xmlns:a16="http://schemas.microsoft.com/office/drawing/2014/main" id="{CCE5ED73-F7A6-4BFE-B602-1470FCC8D530}"/>
              </a:ext>
            </a:extLst>
          </p:cNvPr>
          <p:cNvSpPr>
            <a:spLocks noGrp="1"/>
          </p:cNvSpPr>
          <p:nvPr>
            <p:ph type="ftr" sz="quarter" idx="13"/>
          </p:nvPr>
        </p:nvSpPr>
        <p:spPr>
          <a:xfrm rot="16200000">
            <a:off x="10021500" y="3555244"/>
            <a:ext cx="3960000" cy="180000"/>
          </a:xfrm>
        </p:spPr>
        <p:txBody>
          <a:bodyPr/>
          <a:lstStyle>
            <a:lvl1pPr>
              <a:defRPr>
                <a:noFill/>
              </a:defRPr>
            </a:lvl1pPr>
          </a:lstStyle>
          <a:p>
            <a:r>
              <a:rPr lang="en-US"/>
              <a:t>Footer of the presentation</a:t>
            </a:r>
          </a:p>
        </p:txBody>
      </p:sp>
      <p:sp>
        <p:nvSpPr>
          <p:cNvPr id="11" name="Foliennummernplatzhalter 4" hidden="1">
            <a:extLst>
              <a:ext uri="{FF2B5EF4-FFF2-40B4-BE49-F238E27FC236}">
                <a16:creationId xmlns:a16="http://schemas.microsoft.com/office/drawing/2014/main" id="{E3DE9F0C-6C9D-4766-8D90-A1EA5A204FEE}"/>
              </a:ext>
            </a:extLst>
          </p:cNvPr>
          <p:cNvSpPr>
            <a:spLocks noGrp="1"/>
          </p:cNvSpPr>
          <p:nvPr>
            <p:ph type="sldNum" sz="quarter" idx="15"/>
          </p:nvPr>
        </p:nvSpPr>
        <p:spPr>
          <a:xfrm rot="16200000">
            <a:off x="11785500" y="6363360"/>
            <a:ext cx="432000" cy="180000"/>
          </a:xfrm>
        </p:spPr>
        <p:txBody>
          <a:bodyPr/>
          <a:lstStyle>
            <a:lvl1pPr>
              <a:defRPr>
                <a:noFill/>
              </a:defRPr>
            </a:lvl1pPr>
          </a:lstStyle>
          <a:p>
            <a:fld id="{0D1F56E0-B6F6-48D7-9539-F293D99B01ED}" type="slidenum">
              <a:rPr lang="en-US" smtClean="0"/>
              <a:pPr/>
              <a:t>‹#›</a:t>
            </a:fld>
            <a:endParaRPr lang="en-US"/>
          </a:p>
        </p:txBody>
      </p:sp>
      <p:sp>
        <p:nvSpPr>
          <p:cNvPr id="12" name="Text Placeholder 11">
            <a:extLst>
              <a:ext uri="{FF2B5EF4-FFF2-40B4-BE49-F238E27FC236}">
                <a16:creationId xmlns:a16="http://schemas.microsoft.com/office/drawing/2014/main" id="{D3B200B1-6F46-40DE-8C9C-EEB6CD9FBA10}"/>
              </a:ext>
            </a:extLst>
          </p:cNvPr>
          <p:cNvSpPr>
            <a:spLocks noGrp="1"/>
          </p:cNvSpPr>
          <p:nvPr>
            <p:ph type="body" sz="quarter" idx="10" hasCustomPrompt="1"/>
          </p:nvPr>
        </p:nvSpPr>
        <p:spPr bwMode="gray">
          <a:xfrm>
            <a:off x="4333874" y="2744788"/>
            <a:ext cx="4536000" cy="3924300"/>
          </a:xfrm>
        </p:spPr>
        <p:txBody>
          <a:bodyPr/>
          <a:lstStyle>
            <a:lvl1pPr defTabSz="358775">
              <a:defRPr/>
            </a:lvl1pPr>
            <a:lvl2pPr defTabSz="358775">
              <a:defRPr/>
            </a:lvl2pPr>
            <a:lvl3pPr defTabSz="358775">
              <a:defRPr/>
            </a:lvl3pPr>
            <a:lvl4pPr defTabSz="358775">
              <a:defRPr/>
            </a:lvl4pPr>
            <a:lvl5pPr defTabSz="358775">
              <a:defRPr/>
            </a:lvl5pPr>
          </a:lstStyle>
          <a:p>
            <a:pPr lvl="0"/>
            <a:r>
              <a:rPr lang="en-US" err="1"/>
              <a:t>Bühler</a:t>
            </a:r>
            <a:r>
              <a:rPr lang="en-US"/>
              <a:t> AG</a:t>
            </a:r>
          </a:p>
          <a:p>
            <a:pPr lvl="1"/>
            <a:r>
              <a:rPr lang="en-US"/>
              <a:t>Second level</a:t>
            </a:r>
          </a:p>
          <a:p>
            <a:pPr lvl="2"/>
            <a:r>
              <a:rPr lang="en-US"/>
              <a:t>Third level</a:t>
            </a:r>
          </a:p>
          <a:p>
            <a:pPr lvl="3"/>
            <a:r>
              <a:rPr lang="en-US"/>
              <a:t>Fourth level</a:t>
            </a:r>
          </a:p>
          <a:p>
            <a:pPr lvl="4"/>
            <a:r>
              <a:rPr lang="en-US"/>
              <a:t>Fifth level</a:t>
            </a:r>
          </a:p>
        </p:txBody>
      </p:sp>
      <p:sp>
        <p:nvSpPr>
          <p:cNvPr id="14" name="Picture Placeholder 6">
            <a:extLst>
              <a:ext uri="{FF2B5EF4-FFF2-40B4-BE49-F238E27FC236}">
                <a16:creationId xmlns:a16="http://schemas.microsoft.com/office/drawing/2014/main" id="{CC7B4A5F-0BEF-4822-8FC9-6B21BB650ABA}"/>
              </a:ext>
            </a:extLst>
          </p:cNvPr>
          <p:cNvSpPr>
            <a:spLocks noGrp="1"/>
          </p:cNvSpPr>
          <p:nvPr>
            <p:ph type="pic" sz="quarter" idx="11"/>
          </p:nvPr>
        </p:nvSpPr>
        <p:spPr bwMode="gray">
          <a:xfrm>
            <a:off x="1741103" y="1665288"/>
            <a:ext cx="2160972" cy="2879725"/>
          </a:xfrm>
          <a:blipFill>
            <a:blip r:embed="rId2"/>
            <a:stretch>
              <a:fillRect/>
            </a:stretch>
          </a:blipFill>
        </p:spPr>
        <p:txBody>
          <a:bodyPr tIns="0" bIns="792000" anchor="ctr"/>
          <a:lstStyle>
            <a:lvl1pPr algn="ctr">
              <a:defRPr sz="1200"/>
            </a:lvl1pPr>
          </a:lstStyle>
          <a:p>
            <a:r>
              <a:rPr lang="zh-CN" altLang="en-US"/>
              <a:t>单击图标添加图片</a:t>
            </a:r>
            <a:endParaRPr lang="en-GB"/>
          </a:p>
        </p:txBody>
      </p:sp>
      <p:sp>
        <p:nvSpPr>
          <p:cNvPr id="7" name="Text Placeholder 3">
            <a:extLst>
              <a:ext uri="{FF2B5EF4-FFF2-40B4-BE49-F238E27FC236}">
                <a16:creationId xmlns:a16="http://schemas.microsoft.com/office/drawing/2014/main" id="{D990D123-6356-4DE8-8DAD-CF78790CAA38}"/>
              </a:ext>
            </a:extLst>
          </p:cNvPr>
          <p:cNvSpPr>
            <a:spLocks noGrp="1"/>
          </p:cNvSpPr>
          <p:nvPr>
            <p:ph type="body" sz="quarter" idx="14" hasCustomPrompt="1"/>
          </p:nvPr>
        </p:nvSpPr>
        <p:spPr bwMode="gray">
          <a:xfrm>
            <a:off x="4333391" y="1665871"/>
            <a:ext cx="4536000" cy="935037"/>
          </a:xfrm>
        </p:spPr>
        <p:txBody>
          <a:bodyPr/>
          <a:lstStyle>
            <a:lvl1pPr>
              <a:spcAft>
                <a:spcPts val="0"/>
              </a:spcAft>
              <a:defRPr sz="2800">
                <a:solidFill>
                  <a:schemeClr val="tx1"/>
                </a:solidFill>
              </a:defRPr>
            </a:lvl1pPr>
            <a:lvl2pPr marL="0" indent="0">
              <a:spcAft>
                <a:spcPts val="0"/>
              </a:spcAft>
              <a:buFont typeface="Arial" panose="020B0604020202020204" pitchFamily="34" charset="0"/>
              <a:buNone/>
              <a:defRPr sz="2800">
                <a:solidFill>
                  <a:schemeClr val="bg2"/>
                </a:solidFill>
              </a:defRPr>
            </a:lvl2pPr>
            <a:lvl3pPr marL="0" indent="0">
              <a:spcAft>
                <a:spcPts val="0"/>
              </a:spcAft>
              <a:buNone/>
              <a:defRPr sz="2800">
                <a:solidFill>
                  <a:schemeClr val="bg2"/>
                </a:solidFill>
              </a:defRPr>
            </a:lvl3pPr>
            <a:lvl4pPr marL="0" indent="0">
              <a:spcAft>
                <a:spcPts val="0"/>
              </a:spcAft>
              <a:buNone/>
              <a:defRPr sz="2800">
                <a:solidFill>
                  <a:schemeClr val="bg2"/>
                </a:solidFill>
              </a:defRPr>
            </a:lvl4pPr>
            <a:lvl5pPr marL="0" indent="0">
              <a:spcAft>
                <a:spcPts val="0"/>
              </a:spcAft>
              <a:buNone/>
              <a:defRPr sz="2800">
                <a:solidFill>
                  <a:schemeClr val="bg2"/>
                </a:solidFill>
              </a:defRPr>
            </a:lvl5pPr>
          </a:lstStyle>
          <a:p>
            <a:pPr lvl="0"/>
            <a:r>
              <a:rPr lang="en-US"/>
              <a:t>Name and Position</a:t>
            </a:r>
          </a:p>
          <a:p>
            <a:pPr lvl="1"/>
            <a:r>
              <a:rPr lang="en-US"/>
              <a:t>Second level</a:t>
            </a:r>
          </a:p>
          <a:p>
            <a:pPr lvl="2"/>
            <a:r>
              <a:rPr lang="en-US"/>
              <a:t>Third level</a:t>
            </a:r>
          </a:p>
          <a:p>
            <a:pPr lvl="3"/>
            <a:r>
              <a:rPr lang="en-US"/>
              <a:t>Fourth level</a:t>
            </a:r>
          </a:p>
          <a:p>
            <a:pPr lvl="4"/>
            <a:r>
              <a:rPr lang="en-US"/>
              <a:t>Fifth level</a:t>
            </a:r>
          </a:p>
        </p:txBody>
      </p:sp>
      <p:pic>
        <p:nvPicPr>
          <p:cNvPr id="9" name="Grafik 8">
            <a:extLst>
              <a:ext uri="{FF2B5EF4-FFF2-40B4-BE49-F238E27FC236}">
                <a16:creationId xmlns:a16="http://schemas.microsoft.com/office/drawing/2014/main" id="{94160077-EC0A-4B30-AA84-9CD41D3D4BE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154" b="33521"/>
          <a:stretch/>
        </p:blipFill>
        <p:spPr bwMode="gray">
          <a:xfrm flipH="1" flipV="1">
            <a:off x="8701642" y="-3"/>
            <a:ext cx="3493532" cy="3066867"/>
          </a:xfrm>
          <a:prstGeom prst="rect">
            <a:avLst/>
          </a:prstGeom>
        </p:spPr>
      </p:pic>
      <p:sp>
        <p:nvSpPr>
          <p:cNvPr id="8" name="Textfeld 11">
            <a:extLst>
              <a:ext uri="{FF2B5EF4-FFF2-40B4-BE49-F238E27FC236}">
                <a16:creationId xmlns:a16="http://schemas.microsoft.com/office/drawing/2014/main" id="{28A18DAB-5D4A-4C76-8CAD-7D23618858AE}"/>
              </a:ext>
            </a:extLst>
          </p:cNvPr>
          <p:cNvSpPr txBox="1">
            <a:spLocks noChangeArrowheads="1"/>
          </p:cNvSpPr>
          <p:nvPr userDrawn="1"/>
        </p:nvSpPr>
        <p:spPr bwMode="auto">
          <a:xfrm>
            <a:off x="-2291345" y="209164"/>
            <a:ext cx="2067146" cy="2672916"/>
          </a:xfrm>
          <a:prstGeom prst="rect">
            <a:avLst/>
          </a:prstGeom>
          <a:solidFill>
            <a:schemeClr val="bg1">
              <a:lumMod val="95000"/>
            </a:schemeClr>
          </a:solidFill>
          <a:ln>
            <a:solidFill>
              <a:srgbClr val="BFBFBF"/>
            </a:solidFill>
          </a:ln>
        </p:spPr>
        <p:txBody>
          <a:bodyPr wrap="square" lIns="35996" tIns="35996" rIns="35996" bIns="35996">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eaLnBrk="1" fontAlgn="base" hangingPunct="1">
              <a:spcBef>
                <a:spcPct val="0"/>
              </a:spcBef>
              <a:spcAft>
                <a:spcPct val="0"/>
              </a:spcAft>
            </a:pPr>
            <a:r>
              <a:rPr lang="en-US" sz="1100">
                <a:solidFill>
                  <a:schemeClr val="bg2"/>
                </a:solidFill>
                <a:latin typeface="+mn-lt"/>
                <a:cs typeface="Tahoma" charset="0"/>
              </a:rPr>
              <a:t>How to insert a photo?</a:t>
            </a:r>
            <a:endParaRPr lang="en-US" sz="1100">
              <a:latin typeface="+mn-lt"/>
              <a:cs typeface="Tahoma" charset="0"/>
            </a:endParaRPr>
          </a:p>
          <a:p>
            <a:pPr eaLnBrk="1" fontAlgn="base" hangingPunct="1">
              <a:spcBef>
                <a:spcPct val="0"/>
              </a:spcBef>
              <a:spcAft>
                <a:spcPct val="0"/>
              </a:spcAft>
            </a:pPr>
            <a:r>
              <a:rPr lang="en-US" sz="1100">
                <a:latin typeface="+mn-lt"/>
                <a:cs typeface="Tahoma" charset="0"/>
              </a:rPr>
              <a:t>Click the icon to add a picture from a file, or open the Cumulus Browser and select an image, click on the placeholder, and click insert in the Cumulus Browser. The image will be inserted to fit the size of the placeholder. </a:t>
            </a:r>
          </a:p>
          <a:p>
            <a:pPr eaLnBrk="1" fontAlgn="base" hangingPunct="1">
              <a:spcBef>
                <a:spcPct val="0"/>
              </a:spcBef>
              <a:spcAft>
                <a:spcPct val="0"/>
              </a:spcAft>
            </a:pPr>
            <a:endParaRPr lang="en-US" sz="1100">
              <a:latin typeface="+mn-lt"/>
              <a:cs typeface="Tahoma" charset="0"/>
            </a:endParaRPr>
          </a:p>
          <a:p>
            <a:pPr eaLnBrk="1" fontAlgn="base" hangingPunct="1">
              <a:spcBef>
                <a:spcPct val="0"/>
              </a:spcBef>
              <a:spcAft>
                <a:spcPct val="0"/>
              </a:spcAft>
            </a:pPr>
            <a:r>
              <a:rPr lang="en-US" sz="1100">
                <a:solidFill>
                  <a:schemeClr val="bg2"/>
                </a:solidFill>
                <a:latin typeface="+mn-lt"/>
                <a:cs typeface="Tahoma" charset="0"/>
              </a:rPr>
              <a:t>Want to customize the image section? </a:t>
            </a:r>
          </a:p>
          <a:p>
            <a:pPr eaLnBrk="1" fontAlgn="base" hangingPunct="1">
              <a:spcBef>
                <a:spcPct val="0"/>
              </a:spcBef>
              <a:spcAft>
                <a:spcPct val="0"/>
              </a:spcAft>
            </a:pPr>
            <a:r>
              <a:rPr lang="en-US" sz="1100">
                <a:latin typeface="+mn-lt"/>
                <a:cs typeface="Tahoma" charset="0"/>
              </a:rPr>
              <a:t>Select the image, right-click and choose </a:t>
            </a:r>
            <a:r>
              <a:rPr lang="en-US" sz="1100" i="1">
                <a:latin typeface="+mn-lt"/>
                <a:cs typeface="Tahoma" charset="0"/>
              </a:rPr>
              <a:t>crop</a:t>
            </a:r>
            <a:r>
              <a:rPr lang="en-US" sz="1100">
                <a:latin typeface="+mn-lt"/>
                <a:cs typeface="Tahoma" charset="0"/>
              </a:rPr>
              <a:t>. Now you can select the image section to be shown. </a:t>
            </a:r>
            <a:endParaRPr lang="en-US" sz="1000">
              <a:latin typeface="+mn-lt"/>
              <a:cs typeface="Tahoma" charset="0"/>
            </a:endParaRPr>
          </a:p>
        </p:txBody>
      </p:sp>
    </p:spTree>
    <p:extLst>
      <p:ext uri="{BB962C8B-B14F-4D97-AF65-F5344CB8AC3E}">
        <p14:creationId xmlns:p14="http://schemas.microsoft.com/office/powerpoint/2010/main" val="1235857449"/>
      </p:ext>
    </p:extLst>
  </p:cSld>
  <p:clrMapOvr>
    <a:masterClrMapping/>
  </p:clrMapOvr>
  <p:extLst>
    <p:ext uri="{DCECCB84-F9BA-43D5-87BE-67443E8EF086}">
      <p15:sldGuideLst xmlns:p15="http://schemas.microsoft.com/office/powerpoint/2012/main">
        <p15:guide id="1" orient="horz" pos="1049">
          <p15:clr>
            <a:srgbClr val="F26B43"/>
          </p15:clr>
        </p15:guide>
        <p15:guide id="2" orient="horz" pos="420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acts">
    <p:spTree>
      <p:nvGrpSpPr>
        <p:cNvPr id="1" name=""/>
        <p:cNvGrpSpPr/>
        <p:nvPr/>
      </p:nvGrpSpPr>
      <p:grpSpPr>
        <a:xfrm>
          <a:off x="0" y="0"/>
          <a:ext cx="0" cy="0"/>
          <a:chOff x="0" y="0"/>
          <a:chExt cx="0" cy="0"/>
        </a:xfrm>
      </p:grpSpPr>
      <p:sp>
        <p:nvSpPr>
          <p:cNvPr id="10" name="Fußzeilenplatzhalter 2" hidden="1">
            <a:extLst>
              <a:ext uri="{FF2B5EF4-FFF2-40B4-BE49-F238E27FC236}">
                <a16:creationId xmlns:a16="http://schemas.microsoft.com/office/drawing/2014/main" id="{5037DE2B-FED8-4D60-BE38-F90CEA0D2137}"/>
              </a:ext>
            </a:extLst>
          </p:cNvPr>
          <p:cNvSpPr>
            <a:spLocks noGrp="1"/>
          </p:cNvSpPr>
          <p:nvPr>
            <p:ph type="ftr" sz="quarter" idx="13"/>
          </p:nvPr>
        </p:nvSpPr>
        <p:spPr>
          <a:xfrm rot="16200000">
            <a:off x="10021500" y="3555244"/>
            <a:ext cx="3960000" cy="180000"/>
          </a:xfrm>
        </p:spPr>
        <p:txBody>
          <a:bodyPr/>
          <a:lstStyle>
            <a:lvl1pPr>
              <a:defRPr>
                <a:noFill/>
              </a:defRPr>
            </a:lvl1pPr>
          </a:lstStyle>
          <a:p>
            <a:r>
              <a:rPr lang="en-US"/>
              <a:t>Footer of the presentation</a:t>
            </a:r>
          </a:p>
        </p:txBody>
      </p:sp>
      <p:sp>
        <p:nvSpPr>
          <p:cNvPr id="17" name="Foliennummernplatzhalter 4" hidden="1">
            <a:extLst>
              <a:ext uri="{FF2B5EF4-FFF2-40B4-BE49-F238E27FC236}">
                <a16:creationId xmlns:a16="http://schemas.microsoft.com/office/drawing/2014/main" id="{642BCFAC-96BE-449B-9F7F-27AFC5DD7E6D}"/>
              </a:ext>
            </a:extLst>
          </p:cNvPr>
          <p:cNvSpPr>
            <a:spLocks noGrp="1"/>
          </p:cNvSpPr>
          <p:nvPr>
            <p:ph type="sldNum" sz="quarter" idx="18"/>
          </p:nvPr>
        </p:nvSpPr>
        <p:spPr>
          <a:xfrm rot="16200000">
            <a:off x="11785500" y="6363360"/>
            <a:ext cx="432000" cy="180000"/>
          </a:xfrm>
        </p:spPr>
        <p:txBody>
          <a:bodyPr/>
          <a:lstStyle>
            <a:lvl1pPr>
              <a:defRPr>
                <a:noFill/>
              </a:defRPr>
            </a:lvl1pPr>
          </a:lstStyle>
          <a:p>
            <a:fld id="{0D1F56E0-B6F6-48D7-9539-F293D99B01ED}" type="slidenum">
              <a:rPr lang="en-US" smtClean="0"/>
              <a:pPr/>
              <a:t>‹#›</a:t>
            </a:fld>
            <a:endParaRPr lang="en-US"/>
          </a:p>
        </p:txBody>
      </p:sp>
      <p:sp>
        <p:nvSpPr>
          <p:cNvPr id="12" name="Text Placeholder 11">
            <a:extLst>
              <a:ext uri="{FF2B5EF4-FFF2-40B4-BE49-F238E27FC236}">
                <a16:creationId xmlns:a16="http://schemas.microsoft.com/office/drawing/2014/main" id="{D3B200B1-6F46-40DE-8C9C-EEB6CD9FBA10}"/>
              </a:ext>
            </a:extLst>
          </p:cNvPr>
          <p:cNvSpPr>
            <a:spLocks noGrp="1"/>
          </p:cNvSpPr>
          <p:nvPr>
            <p:ph type="body" sz="quarter" idx="10" hasCustomPrompt="1"/>
          </p:nvPr>
        </p:nvSpPr>
        <p:spPr bwMode="gray">
          <a:xfrm>
            <a:off x="2065034" y="2744788"/>
            <a:ext cx="3888000" cy="3924300"/>
          </a:xfrm>
        </p:spPr>
        <p:txBody>
          <a:bodyPr/>
          <a:lstStyle>
            <a:lvl1pPr defTabSz="358775">
              <a:defRPr/>
            </a:lvl1pPr>
            <a:lvl2pPr defTabSz="358775">
              <a:defRPr/>
            </a:lvl2pPr>
            <a:lvl3pPr defTabSz="358775">
              <a:defRPr/>
            </a:lvl3pPr>
            <a:lvl4pPr defTabSz="358775">
              <a:defRPr/>
            </a:lvl4pPr>
            <a:lvl5pPr defTabSz="358775">
              <a:defRPr/>
            </a:lvl5pPr>
          </a:lstStyle>
          <a:p>
            <a:pPr lvl="0"/>
            <a:r>
              <a:rPr lang="en-US" err="1"/>
              <a:t>Bühler</a:t>
            </a:r>
            <a:r>
              <a:rPr lang="en-US"/>
              <a:t> AG</a:t>
            </a:r>
          </a:p>
          <a:p>
            <a:pPr lvl="1"/>
            <a:r>
              <a:rPr lang="en-US"/>
              <a:t>Second level</a:t>
            </a:r>
          </a:p>
          <a:p>
            <a:pPr lvl="2"/>
            <a:r>
              <a:rPr lang="en-US"/>
              <a:t>Third level</a:t>
            </a:r>
          </a:p>
          <a:p>
            <a:pPr lvl="3"/>
            <a:r>
              <a:rPr lang="en-US"/>
              <a:t>Fourth level</a:t>
            </a:r>
          </a:p>
          <a:p>
            <a:pPr lvl="4"/>
            <a:r>
              <a:rPr lang="en-US"/>
              <a:t>Fifth level</a:t>
            </a:r>
          </a:p>
        </p:txBody>
      </p:sp>
      <p:sp>
        <p:nvSpPr>
          <p:cNvPr id="14" name="Picture Placeholder 6">
            <a:extLst>
              <a:ext uri="{FF2B5EF4-FFF2-40B4-BE49-F238E27FC236}">
                <a16:creationId xmlns:a16="http://schemas.microsoft.com/office/drawing/2014/main" id="{CC7B4A5F-0BEF-4822-8FC9-6B21BB650ABA}"/>
              </a:ext>
            </a:extLst>
          </p:cNvPr>
          <p:cNvSpPr>
            <a:spLocks noGrp="1"/>
          </p:cNvSpPr>
          <p:nvPr>
            <p:ph type="pic" sz="quarter" idx="11"/>
          </p:nvPr>
        </p:nvSpPr>
        <p:spPr bwMode="gray">
          <a:xfrm>
            <a:off x="372951" y="1665287"/>
            <a:ext cx="1404000" cy="1908000"/>
          </a:xfrm>
          <a:blipFill>
            <a:blip r:embed="rId2"/>
            <a:stretch>
              <a:fillRect/>
            </a:stretch>
          </a:blipFill>
        </p:spPr>
        <p:txBody>
          <a:bodyPr tIns="0" bIns="792000" anchor="ctr"/>
          <a:lstStyle>
            <a:lvl1pPr algn="ctr">
              <a:defRPr sz="1200"/>
            </a:lvl1pPr>
          </a:lstStyle>
          <a:p>
            <a:r>
              <a:rPr lang="zh-CN" altLang="en-US"/>
              <a:t>单击图标添加图片</a:t>
            </a:r>
            <a:endParaRPr lang="en-GB"/>
          </a:p>
        </p:txBody>
      </p:sp>
      <p:sp>
        <p:nvSpPr>
          <p:cNvPr id="4" name="Text Placeholder 3">
            <a:extLst>
              <a:ext uri="{FF2B5EF4-FFF2-40B4-BE49-F238E27FC236}">
                <a16:creationId xmlns:a16="http://schemas.microsoft.com/office/drawing/2014/main" id="{F200E826-DF26-43AD-B0F4-0B03AAF22AA9}"/>
              </a:ext>
            </a:extLst>
          </p:cNvPr>
          <p:cNvSpPr>
            <a:spLocks noGrp="1"/>
          </p:cNvSpPr>
          <p:nvPr>
            <p:ph type="body" sz="quarter" idx="14" hasCustomPrompt="1"/>
          </p:nvPr>
        </p:nvSpPr>
        <p:spPr bwMode="gray">
          <a:xfrm>
            <a:off x="2064983" y="1665871"/>
            <a:ext cx="3888000" cy="935037"/>
          </a:xfrm>
        </p:spPr>
        <p:txBody>
          <a:bodyPr/>
          <a:lstStyle>
            <a:lvl1pPr>
              <a:spcAft>
                <a:spcPts val="0"/>
              </a:spcAft>
              <a:defRPr sz="2400">
                <a:solidFill>
                  <a:schemeClr val="tx1"/>
                </a:solidFill>
              </a:defRPr>
            </a:lvl1pPr>
            <a:lvl2pPr marL="0" indent="0">
              <a:spcAft>
                <a:spcPts val="0"/>
              </a:spcAft>
              <a:buFont typeface="Arial" panose="020B0604020202020204" pitchFamily="34" charset="0"/>
              <a:buNone/>
              <a:defRPr sz="2400">
                <a:solidFill>
                  <a:schemeClr val="bg2"/>
                </a:solidFill>
              </a:defRPr>
            </a:lvl2pPr>
            <a:lvl3pPr marL="0" indent="0">
              <a:spcAft>
                <a:spcPts val="0"/>
              </a:spcAft>
              <a:buNone/>
              <a:defRPr sz="2400">
                <a:solidFill>
                  <a:schemeClr val="bg2"/>
                </a:solidFill>
              </a:defRPr>
            </a:lvl3pPr>
            <a:lvl4pPr marL="0" indent="0">
              <a:spcAft>
                <a:spcPts val="0"/>
              </a:spcAft>
              <a:buNone/>
              <a:defRPr sz="2400">
                <a:solidFill>
                  <a:schemeClr val="bg2"/>
                </a:solidFill>
              </a:defRPr>
            </a:lvl4pPr>
            <a:lvl5pPr marL="0" indent="0">
              <a:spcAft>
                <a:spcPts val="0"/>
              </a:spcAft>
              <a:buNone/>
              <a:defRPr sz="2400">
                <a:solidFill>
                  <a:schemeClr val="bg2"/>
                </a:solidFill>
              </a:defRPr>
            </a:lvl5pPr>
          </a:lstStyle>
          <a:p>
            <a:pPr lvl="0"/>
            <a:r>
              <a:rPr lang="en-US"/>
              <a:t>Name and Position</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031635B-A708-4EB2-91BA-9807EBEA8B3F}"/>
              </a:ext>
            </a:extLst>
          </p:cNvPr>
          <p:cNvSpPr>
            <a:spLocks noGrp="1"/>
          </p:cNvSpPr>
          <p:nvPr>
            <p:ph type="body" sz="quarter" idx="15" hasCustomPrompt="1"/>
          </p:nvPr>
        </p:nvSpPr>
        <p:spPr bwMode="gray">
          <a:xfrm>
            <a:off x="7933842" y="2745060"/>
            <a:ext cx="3888000" cy="3924300"/>
          </a:xfrm>
        </p:spPr>
        <p:txBody>
          <a:bodyPr/>
          <a:lstStyle>
            <a:lvl1pPr defTabSz="358775">
              <a:defRPr/>
            </a:lvl1pPr>
            <a:lvl2pPr defTabSz="358775">
              <a:defRPr/>
            </a:lvl2pPr>
            <a:lvl3pPr defTabSz="358775">
              <a:defRPr/>
            </a:lvl3pPr>
            <a:lvl4pPr defTabSz="358775">
              <a:defRPr/>
            </a:lvl4pPr>
            <a:lvl5pPr defTabSz="358775">
              <a:defRPr/>
            </a:lvl5pPr>
          </a:lstStyle>
          <a:p>
            <a:pPr lvl="0"/>
            <a:r>
              <a:rPr lang="en-US" err="1"/>
              <a:t>Bühler</a:t>
            </a:r>
            <a:r>
              <a:rPr lang="en-US"/>
              <a:t> AG</a:t>
            </a:r>
          </a:p>
          <a:p>
            <a:pPr lvl="1"/>
            <a:r>
              <a:rPr lang="en-US"/>
              <a:t>Second level</a:t>
            </a:r>
          </a:p>
          <a:p>
            <a:pPr lvl="2"/>
            <a:r>
              <a:rPr lang="en-US"/>
              <a:t>Third level</a:t>
            </a:r>
          </a:p>
          <a:p>
            <a:pPr lvl="3"/>
            <a:r>
              <a:rPr lang="en-US"/>
              <a:t>Fourth level</a:t>
            </a:r>
          </a:p>
          <a:p>
            <a:pPr lvl="4"/>
            <a:r>
              <a:rPr lang="en-US"/>
              <a:t>Fifth level</a:t>
            </a:r>
          </a:p>
        </p:txBody>
      </p:sp>
      <p:sp>
        <p:nvSpPr>
          <p:cNvPr id="15" name="Picture Placeholder 6">
            <a:extLst>
              <a:ext uri="{FF2B5EF4-FFF2-40B4-BE49-F238E27FC236}">
                <a16:creationId xmlns:a16="http://schemas.microsoft.com/office/drawing/2014/main" id="{267A6310-FEC1-4B53-802A-0A789CCE491A}"/>
              </a:ext>
            </a:extLst>
          </p:cNvPr>
          <p:cNvSpPr>
            <a:spLocks noGrp="1"/>
          </p:cNvSpPr>
          <p:nvPr>
            <p:ph type="pic" sz="quarter" idx="16"/>
          </p:nvPr>
        </p:nvSpPr>
        <p:spPr bwMode="gray">
          <a:xfrm>
            <a:off x="6241759" y="1665559"/>
            <a:ext cx="1404000" cy="1908000"/>
          </a:xfrm>
          <a:blipFill>
            <a:blip r:embed="rId2"/>
            <a:stretch>
              <a:fillRect/>
            </a:stretch>
          </a:blipFill>
        </p:spPr>
        <p:txBody>
          <a:bodyPr tIns="0" bIns="792000" anchor="ctr"/>
          <a:lstStyle>
            <a:lvl1pPr algn="ctr">
              <a:defRPr sz="1200"/>
            </a:lvl1pPr>
          </a:lstStyle>
          <a:p>
            <a:r>
              <a:rPr lang="zh-CN" altLang="en-US"/>
              <a:t>单击图标添加图片</a:t>
            </a:r>
            <a:endParaRPr lang="en-GB"/>
          </a:p>
        </p:txBody>
      </p:sp>
      <p:sp>
        <p:nvSpPr>
          <p:cNvPr id="16" name="Text Placeholder 3">
            <a:extLst>
              <a:ext uri="{FF2B5EF4-FFF2-40B4-BE49-F238E27FC236}">
                <a16:creationId xmlns:a16="http://schemas.microsoft.com/office/drawing/2014/main" id="{1A42594B-D2FF-475A-B41A-E8806911AB15}"/>
              </a:ext>
            </a:extLst>
          </p:cNvPr>
          <p:cNvSpPr>
            <a:spLocks noGrp="1"/>
          </p:cNvSpPr>
          <p:nvPr>
            <p:ph type="body" sz="quarter" idx="17" hasCustomPrompt="1"/>
          </p:nvPr>
        </p:nvSpPr>
        <p:spPr bwMode="gray">
          <a:xfrm>
            <a:off x="7933791" y="1666143"/>
            <a:ext cx="3888000" cy="935037"/>
          </a:xfrm>
        </p:spPr>
        <p:txBody>
          <a:bodyPr/>
          <a:lstStyle>
            <a:lvl1pPr>
              <a:spcAft>
                <a:spcPts val="0"/>
              </a:spcAft>
              <a:defRPr sz="2400">
                <a:solidFill>
                  <a:schemeClr val="tx1"/>
                </a:solidFill>
              </a:defRPr>
            </a:lvl1pPr>
            <a:lvl2pPr marL="0" indent="0">
              <a:spcAft>
                <a:spcPts val="0"/>
              </a:spcAft>
              <a:buFont typeface="Arial" panose="020B0604020202020204" pitchFamily="34" charset="0"/>
              <a:buNone/>
              <a:defRPr sz="2400">
                <a:solidFill>
                  <a:schemeClr val="bg2"/>
                </a:solidFill>
              </a:defRPr>
            </a:lvl2pPr>
            <a:lvl3pPr marL="0" indent="0">
              <a:spcAft>
                <a:spcPts val="0"/>
              </a:spcAft>
              <a:buNone/>
              <a:defRPr sz="2400">
                <a:solidFill>
                  <a:schemeClr val="bg2"/>
                </a:solidFill>
              </a:defRPr>
            </a:lvl3pPr>
            <a:lvl4pPr marL="0" indent="0">
              <a:spcAft>
                <a:spcPts val="0"/>
              </a:spcAft>
              <a:buNone/>
              <a:defRPr sz="2400">
                <a:solidFill>
                  <a:schemeClr val="bg2"/>
                </a:solidFill>
              </a:defRPr>
            </a:lvl4pPr>
            <a:lvl5pPr marL="0" indent="0">
              <a:spcAft>
                <a:spcPts val="0"/>
              </a:spcAft>
              <a:buNone/>
              <a:defRPr sz="2400">
                <a:solidFill>
                  <a:schemeClr val="bg2"/>
                </a:solidFill>
              </a:defRPr>
            </a:lvl5pPr>
          </a:lstStyle>
          <a:p>
            <a:pPr lvl="0"/>
            <a:r>
              <a:rPr lang="en-US"/>
              <a:t>Name and Position</a:t>
            </a:r>
          </a:p>
          <a:p>
            <a:pPr lvl="1"/>
            <a:r>
              <a:rPr lang="en-US"/>
              <a:t>Second level</a:t>
            </a:r>
          </a:p>
          <a:p>
            <a:pPr lvl="2"/>
            <a:r>
              <a:rPr lang="en-US"/>
              <a:t>Third level</a:t>
            </a:r>
          </a:p>
          <a:p>
            <a:pPr lvl="3"/>
            <a:r>
              <a:rPr lang="en-US"/>
              <a:t>Fourth level</a:t>
            </a:r>
          </a:p>
          <a:p>
            <a:pPr lvl="4"/>
            <a:r>
              <a:rPr lang="en-US"/>
              <a:t>Fifth level</a:t>
            </a:r>
          </a:p>
        </p:txBody>
      </p:sp>
      <p:pic>
        <p:nvPicPr>
          <p:cNvPr id="9" name="Grafik 8">
            <a:extLst>
              <a:ext uri="{FF2B5EF4-FFF2-40B4-BE49-F238E27FC236}">
                <a16:creationId xmlns:a16="http://schemas.microsoft.com/office/drawing/2014/main" id="{6E08F719-FD92-40B1-90AC-263A3A11F78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91" r="-1" b="47448"/>
          <a:stretch/>
        </p:blipFill>
        <p:spPr bwMode="gray">
          <a:xfrm flipH="1" flipV="1">
            <a:off x="9793995" y="0"/>
            <a:ext cx="2401180" cy="1665288"/>
          </a:xfrm>
          <a:prstGeom prst="rect">
            <a:avLst/>
          </a:prstGeom>
        </p:spPr>
      </p:pic>
      <p:sp>
        <p:nvSpPr>
          <p:cNvPr id="11" name="Textfeld 11">
            <a:extLst>
              <a:ext uri="{FF2B5EF4-FFF2-40B4-BE49-F238E27FC236}">
                <a16:creationId xmlns:a16="http://schemas.microsoft.com/office/drawing/2014/main" id="{A5E214BC-ED17-4C0A-8B07-B22F5FDBE1EC}"/>
              </a:ext>
            </a:extLst>
          </p:cNvPr>
          <p:cNvSpPr txBox="1">
            <a:spLocks noChangeArrowheads="1"/>
          </p:cNvSpPr>
          <p:nvPr userDrawn="1"/>
        </p:nvSpPr>
        <p:spPr bwMode="auto">
          <a:xfrm>
            <a:off x="-2291345" y="209164"/>
            <a:ext cx="2067146" cy="2672916"/>
          </a:xfrm>
          <a:prstGeom prst="rect">
            <a:avLst/>
          </a:prstGeom>
          <a:solidFill>
            <a:schemeClr val="bg1">
              <a:lumMod val="95000"/>
            </a:schemeClr>
          </a:solidFill>
          <a:ln>
            <a:solidFill>
              <a:srgbClr val="BFBFBF"/>
            </a:solidFill>
          </a:ln>
        </p:spPr>
        <p:txBody>
          <a:bodyPr wrap="square" lIns="35996" tIns="35996" rIns="35996" bIns="35996">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eaLnBrk="1" fontAlgn="base" hangingPunct="1">
              <a:spcBef>
                <a:spcPct val="0"/>
              </a:spcBef>
              <a:spcAft>
                <a:spcPct val="0"/>
              </a:spcAft>
            </a:pPr>
            <a:r>
              <a:rPr lang="en-US" sz="1100">
                <a:solidFill>
                  <a:schemeClr val="bg2"/>
                </a:solidFill>
                <a:latin typeface="+mn-lt"/>
                <a:cs typeface="Tahoma" charset="0"/>
              </a:rPr>
              <a:t>How to insert a photo?</a:t>
            </a:r>
            <a:endParaRPr lang="en-US" sz="1100">
              <a:latin typeface="+mn-lt"/>
              <a:cs typeface="Tahoma" charset="0"/>
            </a:endParaRPr>
          </a:p>
          <a:p>
            <a:pPr eaLnBrk="1" fontAlgn="base" hangingPunct="1">
              <a:spcBef>
                <a:spcPct val="0"/>
              </a:spcBef>
              <a:spcAft>
                <a:spcPct val="0"/>
              </a:spcAft>
            </a:pPr>
            <a:r>
              <a:rPr lang="en-US" sz="1100">
                <a:latin typeface="+mn-lt"/>
                <a:cs typeface="Tahoma" charset="0"/>
              </a:rPr>
              <a:t>Click the icon to add a picture from a file, or open the Cumulus Browser and select an image, click on the placeholder, and click insert in the Cumulus Browser. The image will be inserted to fit the size of the placeholder. </a:t>
            </a:r>
          </a:p>
          <a:p>
            <a:pPr eaLnBrk="1" fontAlgn="base" hangingPunct="1">
              <a:spcBef>
                <a:spcPct val="0"/>
              </a:spcBef>
              <a:spcAft>
                <a:spcPct val="0"/>
              </a:spcAft>
            </a:pPr>
            <a:endParaRPr lang="en-US" sz="1100">
              <a:latin typeface="+mn-lt"/>
              <a:cs typeface="Tahoma" charset="0"/>
            </a:endParaRPr>
          </a:p>
          <a:p>
            <a:pPr eaLnBrk="1" fontAlgn="base" hangingPunct="1">
              <a:spcBef>
                <a:spcPct val="0"/>
              </a:spcBef>
              <a:spcAft>
                <a:spcPct val="0"/>
              </a:spcAft>
            </a:pPr>
            <a:r>
              <a:rPr lang="en-US" sz="1100">
                <a:solidFill>
                  <a:schemeClr val="bg2"/>
                </a:solidFill>
                <a:latin typeface="+mn-lt"/>
                <a:cs typeface="Tahoma" charset="0"/>
              </a:rPr>
              <a:t>Want to customize the image section? </a:t>
            </a:r>
          </a:p>
          <a:p>
            <a:pPr eaLnBrk="1" fontAlgn="base" hangingPunct="1">
              <a:spcBef>
                <a:spcPct val="0"/>
              </a:spcBef>
              <a:spcAft>
                <a:spcPct val="0"/>
              </a:spcAft>
            </a:pPr>
            <a:r>
              <a:rPr lang="en-US" sz="1100">
                <a:latin typeface="+mn-lt"/>
                <a:cs typeface="Tahoma" charset="0"/>
              </a:rPr>
              <a:t>Select the image, right-click and choose </a:t>
            </a:r>
            <a:r>
              <a:rPr lang="en-US" sz="1100" i="1">
                <a:latin typeface="+mn-lt"/>
                <a:cs typeface="Tahoma" charset="0"/>
              </a:rPr>
              <a:t>crop</a:t>
            </a:r>
            <a:r>
              <a:rPr lang="en-US" sz="1100">
                <a:latin typeface="+mn-lt"/>
                <a:cs typeface="Tahoma" charset="0"/>
              </a:rPr>
              <a:t>. Now you can select the image section to be shown. </a:t>
            </a:r>
            <a:endParaRPr lang="en-US" sz="1000">
              <a:latin typeface="+mn-lt"/>
              <a:cs typeface="Tahoma" charset="0"/>
            </a:endParaRPr>
          </a:p>
        </p:txBody>
      </p:sp>
    </p:spTree>
    <p:extLst>
      <p:ext uri="{BB962C8B-B14F-4D97-AF65-F5344CB8AC3E}">
        <p14:creationId xmlns:p14="http://schemas.microsoft.com/office/powerpoint/2010/main" val="3408132068"/>
      </p:ext>
    </p:extLst>
  </p:cSld>
  <p:clrMapOvr>
    <a:masterClrMapping/>
  </p:clrMapOvr>
  <p:extLst>
    <p:ext uri="{DCECCB84-F9BA-43D5-87BE-67443E8EF086}">
      <p15:sldGuideLst xmlns:p15="http://schemas.microsoft.com/office/powerpoint/2012/main">
        <p15:guide id="1" pos="235">
          <p15:clr>
            <a:srgbClr val="F26B43"/>
          </p15:clr>
        </p15:guide>
        <p15:guide id="2" orient="horz" pos="1049">
          <p15:clr>
            <a:srgbClr val="F26B43"/>
          </p15:clr>
        </p15:guide>
        <p15:guide id="4" pos="7447">
          <p15:clr>
            <a:srgbClr val="F26B43"/>
          </p15:clr>
        </p15:guide>
        <p15:guide id="5" orient="horz" pos="4201">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picture with statement">
    <p:spTree>
      <p:nvGrpSpPr>
        <p:cNvPr id="1" name=""/>
        <p:cNvGrpSpPr/>
        <p:nvPr/>
      </p:nvGrpSpPr>
      <p:grpSpPr>
        <a:xfrm>
          <a:off x="0" y="0"/>
          <a:ext cx="0" cy="0"/>
          <a:chOff x="0" y="0"/>
          <a:chExt cx="0" cy="0"/>
        </a:xfrm>
      </p:grpSpPr>
      <p:sp>
        <p:nvSpPr>
          <p:cNvPr id="6" name="Fußzeilenplatzhalter 2" hidden="1">
            <a:extLst>
              <a:ext uri="{FF2B5EF4-FFF2-40B4-BE49-F238E27FC236}">
                <a16:creationId xmlns:a16="http://schemas.microsoft.com/office/drawing/2014/main" id="{7030761D-E4D1-420B-85A2-675A853A2511}"/>
              </a:ext>
            </a:extLst>
          </p:cNvPr>
          <p:cNvSpPr>
            <a:spLocks noGrp="1"/>
          </p:cNvSpPr>
          <p:nvPr>
            <p:ph type="ftr" sz="quarter" idx="13"/>
          </p:nvPr>
        </p:nvSpPr>
        <p:spPr>
          <a:xfrm rot="16200000">
            <a:off x="10021500" y="3555244"/>
            <a:ext cx="3960000" cy="180000"/>
          </a:xfrm>
        </p:spPr>
        <p:txBody>
          <a:bodyPr/>
          <a:lstStyle>
            <a:lvl1pPr>
              <a:defRPr>
                <a:noFill/>
              </a:defRPr>
            </a:lvl1pPr>
          </a:lstStyle>
          <a:p>
            <a:r>
              <a:rPr lang="en-US"/>
              <a:t>Footer of the presentation</a:t>
            </a:r>
          </a:p>
        </p:txBody>
      </p:sp>
      <p:sp>
        <p:nvSpPr>
          <p:cNvPr id="9" name="Foliennummernplatzhalter 4" hidden="1">
            <a:extLst>
              <a:ext uri="{FF2B5EF4-FFF2-40B4-BE49-F238E27FC236}">
                <a16:creationId xmlns:a16="http://schemas.microsoft.com/office/drawing/2014/main" id="{155D0E16-6A4B-4E18-8B6B-DCEE5CED4E3E}"/>
              </a:ext>
            </a:extLst>
          </p:cNvPr>
          <p:cNvSpPr>
            <a:spLocks noGrp="1"/>
          </p:cNvSpPr>
          <p:nvPr>
            <p:ph type="sldNum" sz="quarter" idx="14"/>
          </p:nvPr>
        </p:nvSpPr>
        <p:spPr>
          <a:xfrm rot="16200000">
            <a:off x="11785500" y="6363360"/>
            <a:ext cx="432000" cy="180000"/>
          </a:xfrm>
        </p:spPr>
        <p:txBody>
          <a:bodyPr/>
          <a:lstStyle>
            <a:lvl1pPr>
              <a:defRPr>
                <a:noFill/>
              </a:defRPr>
            </a:lvl1pPr>
          </a:lstStyle>
          <a:p>
            <a:fld id="{0D1F56E0-B6F6-48D7-9539-F293D99B01ED}" type="slidenum">
              <a:rPr lang="en-US" smtClean="0"/>
              <a:pPr/>
              <a:t>‹#›</a:t>
            </a:fld>
            <a:endParaRPr lang="en-US"/>
          </a:p>
        </p:txBody>
      </p:sp>
      <p:sp>
        <p:nvSpPr>
          <p:cNvPr id="7" name="Picture Placeholder 6">
            <a:extLst>
              <a:ext uri="{FF2B5EF4-FFF2-40B4-BE49-F238E27FC236}">
                <a16:creationId xmlns:a16="http://schemas.microsoft.com/office/drawing/2014/main" id="{0B3A2BE5-689A-4AA7-8F16-8960CF5CC971}"/>
              </a:ext>
            </a:extLst>
          </p:cNvPr>
          <p:cNvSpPr>
            <a:spLocks noGrp="1"/>
          </p:cNvSpPr>
          <p:nvPr>
            <p:ph type="pic" sz="quarter" idx="10"/>
          </p:nvPr>
        </p:nvSpPr>
        <p:spPr bwMode="gray">
          <a:xfrm>
            <a:off x="193674" y="188913"/>
            <a:ext cx="11807825" cy="6480176"/>
          </a:xfrm>
          <a:blipFill>
            <a:blip r:embed="rId2">
              <a:alphaModFix amt="70000"/>
            </a:blip>
            <a:stretch>
              <a:fillRect/>
            </a:stretch>
          </a:blipFill>
        </p:spPr>
        <p:txBody>
          <a:bodyPr tIns="0" bIns="792000" anchor="ctr"/>
          <a:lstStyle>
            <a:lvl1pPr algn="ctr">
              <a:defRPr sz="1200"/>
            </a:lvl1pPr>
          </a:lstStyle>
          <a:p>
            <a:r>
              <a:rPr lang="zh-CN" altLang="en-US"/>
              <a:t>单击图标添加图片</a:t>
            </a:r>
            <a:endParaRPr lang="en-GB"/>
          </a:p>
        </p:txBody>
      </p:sp>
      <p:sp>
        <p:nvSpPr>
          <p:cNvPr id="5" name="Text Placeholder 12">
            <a:extLst>
              <a:ext uri="{FF2B5EF4-FFF2-40B4-BE49-F238E27FC236}">
                <a16:creationId xmlns:a16="http://schemas.microsoft.com/office/drawing/2014/main" id="{F7D351B8-ED7F-48C2-B959-F649AA0C58C5}"/>
              </a:ext>
            </a:extLst>
          </p:cNvPr>
          <p:cNvSpPr>
            <a:spLocks noGrp="1"/>
          </p:cNvSpPr>
          <p:nvPr>
            <p:ph type="body" sz="quarter" idx="11" hasCustomPrompt="1"/>
          </p:nvPr>
        </p:nvSpPr>
        <p:spPr bwMode="gray">
          <a:xfrm>
            <a:off x="193676" y="188913"/>
            <a:ext cx="11807824" cy="6480175"/>
          </a:xfrm>
          <a:blipFill>
            <a:blip r:embed="rId3">
              <a:alphaModFix amt="70000"/>
            </a:blip>
            <a:stretch>
              <a:fillRect/>
            </a:stretch>
          </a:blipFill>
        </p:spPr>
        <p:txBody>
          <a:bodyPr/>
          <a:lstStyle>
            <a:lvl1pPr>
              <a:defRPr/>
            </a:lvl1pPr>
          </a:lstStyle>
          <a:p>
            <a:pPr lvl="0"/>
            <a:r>
              <a:rPr lang="en-US"/>
              <a:t> </a:t>
            </a:r>
          </a:p>
        </p:txBody>
      </p:sp>
      <p:sp>
        <p:nvSpPr>
          <p:cNvPr id="2" name="Titel 1">
            <a:extLst>
              <a:ext uri="{FF2B5EF4-FFF2-40B4-BE49-F238E27FC236}">
                <a16:creationId xmlns:a16="http://schemas.microsoft.com/office/drawing/2014/main" id="{49FCC374-CCBB-4D06-B936-26263E8E67DE}"/>
              </a:ext>
            </a:extLst>
          </p:cNvPr>
          <p:cNvSpPr>
            <a:spLocks noGrp="1"/>
          </p:cNvSpPr>
          <p:nvPr>
            <p:ph type="ctrTitle" hasCustomPrompt="1"/>
          </p:nvPr>
        </p:nvSpPr>
        <p:spPr bwMode="gray">
          <a:xfrm>
            <a:off x="733425" y="2276872"/>
            <a:ext cx="5004122" cy="1656000"/>
          </a:xfrm>
        </p:spPr>
        <p:txBody>
          <a:bodyPr anchor="b">
            <a:noAutofit/>
          </a:bodyPr>
          <a:lstStyle>
            <a:lvl1pPr algn="l">
              <a:defRPr sz="3200">
                <a:solidFill>
                  <a:schemeClr val="bg1"/>
                </a:solidFill>
              </a:defRPr>
            </a:lvl1pPr>
          </a:lstStyle>
          <a:p>
            <a:r>
              <a:rPr lang="en-US"/>
              <a:t>Click to add title</a:t>
            </a:r>
          </a:p>
        </p:txBody>
      </p:sp>
      <p:sp>
        <p:nvSpPr>
          <p:cNvPr id="8" name="Textfeld 11">
            <a:extLst>
              <a:ext uri="{FF2B5EF4-FFF2-40B4-BE49-F238E27FC236}">
                <a16:creationId xmlns:a16="http://schemas.microsoft.com/office/drawing/2014/main" id="{1EDF7426-D7A8-47B6-BD91-85A0214C015F}"/>
              </a:ext>
            </a:extLst>
          </p:cNvPr>
          <p:cNvSpPr txBox="1">
            <a:spLocks noChangeArrowheads="1"/>
          </p:cNvSpPr>
          <p:nvPr userDrawn="1"/>
        </p:nvSpPr>
        <p:spPr bwMode="auto">
          <a:xfrm>
            <a:off x="-2291345" y="209164"/>
            <a:ext cx="2067146" cy="2672916"/>
          </a:xfrm>
          <a:prstGeom prst="rect">
            <a:avLst/>
          </a:prstGeom>
          <a:solidFill>
            <a:schemeClr val="bg1">
              <a:lumMod val="95000"/>
            </a:schemeClr>
          </a:solidFill>
          <a:ln>
            <a:solidFill>
              <a:srgbClr val="BFBFBF"/>
            </a:solidFill>
          </a:ln>
        </p:spPr>
        <p:txBody>
          <a:bodyPr wrap="square" lIns="35996" tIns="35996" rIns="35996" bIns="35996">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eaLnBrk="1" fontAlgn="base" hangingPunct="1">
              <a:spcBef>
                <a:spcPct val="0"/>
              </a:spcBef>
              <a:spcAft>
                <a:spcPct val="0"/>
              </a:spcAft>
            </a:pPr>
            <a:r>
              <a:rPr lang="en-US" sz="1100">
                <a:solidFill>
                  <a:schemeClr val="bg2"/>
                </a:solidFill>
                <a:latin typeface="+mn-lt"/>
                <a:cs typeface="Tahoma" charset="0"/>
              </a:rPr>
              <a:t>How to insert a photo?</a:t>
            </a:r>
            <a:endParaRPr lang="en-US" sz="1100">
              <a:latin typeface="+mn-lt"/>
              <a:cs typeface="Tahoma" charset="0"/>
            </a:endParaRPr>
          </a:p>
          <a:p>
            <a:pPr eaLnBrk="1" fontAlgn="base" hangingPunct="1">
              <a:spcBef>
                <a:spcPct val="0"/>
              </a:spcBef>
              <a:spcAft>
                <a:spcPct val="0"/>
              </a:spcAft>
            </a:pPr>
            <a:r>
              <a:rPr lang="en-US" sz="1100">
                <a:latin typeface="+mn-lt"/>
                <a:cs typeface="Tahoma" charset="0"/>
              </a:rPr>
              <a:t>Click the icon to add a picture from a file, or open the Cumulus Browser and select an image, click on the placeholder, and click insert in the Cumulus Browser. The image will be inserted to fit the size of the placeholder. </a:t>
            </a:r>
          </a:p>
          <a:p>
            <a:pPr eaLnBrk="1" fontAlgn="base" hangingPunct="1">
              <a:spcBef>
                <a:spcPct val="0"/>
              </a:spcBef>
              <a:spcAft>
                <a:spcPct val="0"/>
              </a:spcAft>
            </a:pPr>
            <a:endParaRPr lang="en-US" sz="1100">
              <a:latin typeface="+mn-lt"/>
              <a:cs typeface="Tahoma" charset="0"/>
            </a:endParaRPr>
          </a:p>
          <a:p>
            <a:pPr eaLnBrk="1" fontAlgn="base" hangingPunct="1">
              <a:spcBef>
                <a:spcPct val="0"/>
              </a:spcBef>
              <a:spcAft>
                <a:spcPct val="0"/>
              </a:spcAft>
            </a:pPr>
            <a:r>
              <a:rPr lang="en-US" sz="1100">
                <a:solidFill>
                  <a:schemeClr val="bg2"/>
                </a:solidFill>
                <a:latin typeface="+mn-lt"/>
                <a:cs typeface="Tahoma" charset="0"/>
              </a:rPr>
              <a:t>Want to customize the image section? </a:t>
            </a:r>
          </a:p>
          <a:p>
            <a:pPr eaLnBrk="1" fontAlgn="base" hangingPunct="1">
              <a:spcBef>
                <a:spcPct val="0"/>
              </a:spcBef>
              <a:spcAft>
                <a:spcPct val="0"/>
              </a:spcAft>
            </a:pPr>
            <a:r>
              <a:rPr lang="en-US" sz="1100">
                <a:latin typeface="+mn-lt"/>
                <a:cs typeface="Tahoma" charset="0"/>
              </a:rPr>
              <a:t>Select the image, right-click and choose </a:t>
            </a:r>
            <a:r>
              <a:rPr lang="en-US" sz="1100" i="1">
                <a:latin typeface="+mn-lt"/>
                <a:cs typeface="Tahoma" charset="0"/>
              </a:rPr>
              <a:t>crop</a:t>
            </a:r>
            <a:r>
              <a:rPr lang="en-US" sz="1100">
                <a:latin typeface="+mn-lt"/>
                <a:cs typeface="Tahoma" charset="0"/>
              </a:rPr>
              <a:t>. Now you can select the image section to be shown. </a:t>
            </a:r>
            <a:endParaRPr lang="en-US" sz="1000">
              <a:latin typeface="+mn-lt"/>
              <a:cs typeface="Tahoma" charset="0"/>
            </a:endParaRPr>
          </a:p>
        </p:txBody>
      </p:sp>
    </p:spTree>
    <p:extLst>
      <p:ext uri="{BB962C8B-B14F-4D97-AF65-F5344CB8AC3E}">
        <p14:creationId xmlns:p14="http://schemas.microsoft.com/office/powerpoint/2010/main" val="873980042"/>
      </p:ext>
    </p:extLst>
  </p:cSld>
  <p:clrMapOvr>
    <a:masterClrMapping/>
  </p:clrMapOvr>
  <p:extLst>
    <p:ext uri="{DCECCB84-F9BA-43D5-87BE-67443E8EF086}">
      <p15:sldGuideLst xmlns:p15="http://schemas.microsoft.com/office/powerpoint/2012/main">
        <p15:guide id="1" pos="7560">
          <p15:clr>
            <a:srgbClr val="F26B43"/>
          </p15:clr>
        </p15:guide>
        <p15:guide id="2" pos="122">
          <p15:clr>
            <a:srgbClr val="F26B43"/>
          </p15:clr>
        </p15:guide>
        <p15:guide id="4" orient="horz" pos="119">
          <p15:clr>
            <a:srgbClr val="F26B43"/>
          </p15:clr>
        </p15:guide>
        <p15:guide id="5" orient="horz" pos="4201">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and Blue">
    <p:spTree>
      <p:nvGrpSpPr>
        <p:cNvPr id="1" name=""/>
        <p:cNvGrpSpPr/>
        <p:nvPr/>
      </p:nvGrpSpPr>
      <p:grpSpPr>
        <a:xfrm>
          <a:off x="0" y="0"/>
          <a:ext cx="0" cy="0"/>
          <a:chOff x="0" y="0"/>
          <a:chExt cx="0" cy="0"/>
        </a:xfrm>
      </p:grpSpPr>
      <p:sp>
        <p:nvSpPr>
          <p:cNvPr id="7" name="Fußzeilenplatzhalter 2" hidden="1">
            <a:extLst>
              <a:ext uri="{FF2B5EF4-FFF2-40B4-BE49-F238E27FC236}">
                <a16:creationId xmlns:a16="http://schemas.microsoft.com/office/drawing/2014/main" id="{D4B651A1-FA80-49C9-BDC4-B746F1D33176}"/>
              </a:ext>
            </a:extLst>
          </p:cNvPr>
          <p:cNvSpPr>
            <a:spLocks noGrp="1"/>
          </p:cNvSpPr>
          <p:nvPr>
            <p:ph type="ftr" sz="quarter" idx="13"/>
          </p:nvPr>
        </p:nvSpPr>
        <p:spPr>
          <a:xfrm rot="16200000">
            <a:off x="10021500" y="3555244"/>
            <a:ext cx="3960000" cy="180000"/>
          </a:xfrm>
        </p:spPr>
        <p:txBody>
          <a:bodyPr/>
          <a:lstStyle>
            <a:lvl1pPr>
              <a:defRPr>
                <a:noFill/>
              </a:defRPr>
            </a:lvl1pPr>
          </a:lstStyle>
          <a:p>
            <a:r>
              <a:rPr lang="en-US"/>
              <a:t>Footer of the presentation</a:t>
            </a:r>
          </a:p>
        </p:txBody>
      </p:sp>
      <p:sp>
        <p:nvSpPr>
          <p:cNvPr id="8" name="Foliennummernplatzhalter 4" hidden="1">
            <a:extLst>
              <a:ext uri="{FF2B5EF4-FFF2-40B4-BE49-F238E27FC236}">
                <a16:creationId xmlns:a16="http://schemas.microsoft.com/office/drawing/2014/main" id="{8CC24CD1-F786-4C23-8F03-C77DB236D5F1}"/>
              </a:ext>
            </a:extLst>
          </p:cNvPr>
          <p:cNvSpPr>
            <a:spLocks noGrp="1"/>
          </p:cNvSpPr>
          <p:nvPr>
            <p:ph type="sldNum" sz="quarter" idx="14"/>
          </p:nvPr>
        </p:nvSpPr>
        <p:spPr>
          <a:xfrm rot="16200000">
            <a:off x="11785500" y="6363360"/>
            <a:ext cx="432000" cy="180000"/>
          </a:xfrm>
        </p:spPr>
        <p:txBody>
          <a:bodyPr/>
          <a:lstStyle>
            <a:lvl1pPr>
              <a:defRPr>
                <a:noFill/>
              </a:defRPr>
            </a:lvl1pPr>
          </a:lstStyle>
          <a:p>
            <a:fld id="{0D1F56E0-B6F6-48D7-9539-F293D99B01ED}" type="slidenum">
              <a:rPr lang="en-US" smtClean="0"/>
              <a:pPr/>
              <a:t>‹#›</a:t>
            </a:fld>
            <a:endParaRPr lang="en-US"/>
          </a:p>
        </p:txBody>
      </p:sp>
      <p:sp>
        <p:nvSpPr>
          <p:cNvPr id="4" name="Rectangle 3">
            <a:extLst>
              <a:ext uri="{FF2B5EF4-FFF2-40B4-BE49-F238E27FC236}">
                <a16:creationId xmlns:a16="http://schemas.microsoft.com/office/drawing/2014/main" id="{3D057DB6-5E4D-40DA-9216-526249C8FA64}"/>
              </a:ext>
            </a:extLst>
          </p:cNvPr>
          <p:cNvSpPr/>
          <p:nvPr userDrawn="1"/>
        </p:nvSpPr>
        <p:spPr bwMode="gray">
          <a:xfrm>
            <a:off x="3865339" y="0"/>
            <a:ext cx="8329836"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err="1">
              <a:solidFill>
                <a:schemeClr val="tx2"/>
              </a:solidFill>
              <a:latin typeface="Arial Nova Light" panose="020B0304020202020204" pitchFamily="34" charset="0"/>
              <a:cs typeface="Arial" panose="020B0604020202020204" pitchFamily="34" charset="0"/>
            </a:endParaRPr>
          </a:p>
        </p:txBody>
      </p:sp>
      <p:sp>
        <p:nvSpPr>
          <p:cNvPr id="2" name="Titel 1"/>
          <p:cNvSpPr>
            <a:spLocks noGrp="1"/>
          </p:cNvSpPr>
          <p:nvPr>
            <p:ph type="title"/>
          </p:nvPr>
        </p:nvSpPr>
        <p:spPr bwMode="gray">
          <a:xfrm>
            <a:off x="4333875" y="296756"/>
            <a:ext cx="7488238" cy="936000"/>
          </a:xfrm>
          <a:prstGeom prst="rect">
            <a:avLst/>
          </a:prstGeom>
        </p:spPr>
        <p:txBody>
          <a:bodyPr/>
          <a:lstStyle>
            <a:lvl1pPr>
              <a:defRPr>
                <a:solidFill>
                  <a:schemeClr val="bg1"/>
                </a:solidFill>
              </a:defRPr>
            </a:lvl1pPr>
          </a:lstStyle>
          <a:p>
            <a:r>
              <a:rPr lang="zh-CN" altLang="en-US"/>
              <a:t>单击此处编辑母版标题样式</a:t>
            </a:r>
            <a:endParaRPr lang="en-US"/>
          </a:p>
        </p:txBody>
      </p:sp>
      <p:sp>
        <p:nvSpPr>
          <p:cNvPr id="9" name="Picture Placeholder 6">
            <a:extLst>
              <a:ext uri="{FF2B5EF4-FFF2-40B4-BE49-F238E27FC236}">
                <a16:creationId xmlns:a16="http://schemas.microsoft.com/office/drawing/2014/main" id="{CCBD7D10-A88A-4B37-BD54-6126B883FA84}"/>
              </a:ext>
            </a:extLst>
          </p:cNvPr>
          <p:cNvSpPr>
            <a:spLocks noGrp="1"/>
          </p:cNvSpPr>
          <p:nvPr>
            <p:ph type="pic" sz="quarter" idx="10"/>
          </p:nvPr>
        </p:nvSpPr>
        <p:spPr bwMode="gray">
          <a:xfrm>
            <a:off x="1" y="0"/>
            <a:ext cx="3902074" cy="6858000"/>
          </a:xfrm>
          <a:blipFill>
            <a:blip r:embed="rId2"/>
            <a:stretch>
              <a:fillRect/>
            </a:stretch>
          </a:blipFill>
        </p:spPr>
        <p:txBody>
          <a:bodyPr tIns="0" bIns="792000" anchor="ctr"/>
          <a:lstStyle>
            <a:lvl1pPr algn="ctr">
              <a:defRPr sz="1200"/>
            </a:lvl1pPr>
          </a:lstStyle>
          <a:p>
            <a:r>
              <a:rPr lang="zh-CN" altLang="en-US"/>
              <a:t>单击图标添加图片</a:t>
            </a:r>
            <a:endParaRPr lang="en-GB"/>
          </a:p>
        </p:txBody>
      </p:sp>
      <p:sp>
        <p:nvSpPr>
          <p:cNvPr id="6" name="Textfeld 11">
            <a:extLst>
              <a:ext uri="{FF2B5EF4-FFF2-40B4-BE49-F238E27FC236}">
                <a16:creationId xmlns:a16="http://schemas.microsoft.com/office/drawing/2014/main" id="{7E16BF27-D824-4568-9375-BBEF242414DF}"/>
              </a:ext>
            </a:extLst>
          </p:cNvPr>
          <p:cNvSpPr txBox="1">
            <a:spLocks noChangeArrowheads="1"/>
          </p:cNvSpPr>
          <p:nvPr userDrawn="1"/>
        </p:nvSpPr>
        <p:spPr bwMode="auto">
          <a:xfrm>
            <a:off x="-2291345" y="209164"/>
            <a:ext cx="2067146" cy="2672916"/>
          </a:xfrm>
          <a:prstGeom prst="rect">
            <a:avLst/>
          </a:prstGeom>
          <a:solidFill>
            <a:schemeClr val="bg1">
              <a:lumMod val="95000"/>
            </a:schemeClr>
          </a:solidFill>
          <a:ln>
            <a:solidFill>
              <a:srgbClr val="BFBFBF"/>
            </a:solidFill>
          </a:ln>
        </p:spPr>
        <p:txBody>
          <a:bodyPr wrap="square" lIns="35996" tIns="35996" rIns="35996" bIns="35996">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eaLnBrk="1" fontAlgn="base" hangingPunct="1">
              <a:spcBef>
                <a:spcPct val="0"/>
              </a:spcBef>
              <a:spcAft>
                <a:spcPct val="0"/>
              </a:spcAft>
            </a:pPr>
            <a:r>
              <a:rPr lang="en-US" sz="1100">
                <a:solidFill>
                  <a:schemeClr val="bg2"/>
                </a:solidFill>
                <a:latin typeface="+mn-lt"/>
                <a:cs typeface="Tahoma" charset="0"/>
              </a:rPr>
              <a:t>How to insert a photo?</a:t>
            </a:r>
            <a:endParaRPr lang="en-US" sz="1100">
              <a:latin typeface="+mn-lt"/>
              <a:cs typeface="Tahoma" charset="0"/>
            </a:endParaRPr>
          </a:p>
          <a:p>
            <a:pPr eaLnBrk="1" fontAlgn="base" hangingPunct="1">
              <a:spcBef>
                <a:spcPct val="0"/>
              </a:spcBef>
              <a:spcAft>
                <a:spcPct val="0"/>
              </a:spcAft>
            </a:pPr>
            <a:r>
              <a:rPr lang="en-US" sz="1100">
                <a:latin typeface="+mn-lt"/>
                <a:cs typeface="Tahoma" charset="0"/>
              </a:rPr>
              <a:t>Click the icon to add a picture from a file, or open the Cumulus Browser and select an image, click on the placeholder, and click insert in the Cumulus Browser. The image will be inserted to fit the size of the placeholder. </a:t>
            </a:r>
          </a:p>
          <a:p>
            <a:pPr eaLnBrk="1" fontAlgn="base" hangingPunct="1">
              <a:spcBef>
                <a:spcPct val="0"/>
              </a:spcBef>
              <a:spcAft>
                <a:spcPct val="0"/>
              </a:spcAft>
            </a:pPr>
            <a:endParaRPr lang="en-US" sz="1100">
              <a:latin typeface="+mn-lt"/>
              <a:cs typeface="Tahoma" charset="0"/>
            </a:endParaRPr>
          </a:p>
          <a:p>
            <a:pPr eaLnBrk="1" fontAlgn="base" hangingPunct="1">
              <a:spcBef>
                <a:spcPct val="0"/>
              </a:spcBef>
              <a:spcAft>
                <a:spcPct val="0"/>
              </a:spcAft>
            </a:pPr>
            <a:r>
              <a:rPr lang="en-US" sz="1100">
                <a:solidFill>
                  <a:schemeClr val="bg2"/>
                </a:solidFill>
                <a:latin typeface="+mn-lt"/>
                <a:cs typeface="Tahoma" charset="0"/>
              </a:rPr>
              <a:t>Want to customize the image section? </a:t>
            </a:r>
          </a:p>
          <a:p>
            <a:pPr eaLnBrk="1" fontAlgn="base" hangingPunct="1">
              <a:spcBef>
                <a:spcPct val="0"/>
              </a:spcBef>
              <a:spcAft>
                <a:spcPct val="0"/>
              </a:spcAft>
            </a:pPr>
            <a:r>
              <a:rPr lang="en-US" sz="1100">
                <a:latin typeface="+mn-lt"/>
                <a:cs typeface="Tahoma" charset="0"/>
              </a:rPr>
              <a:t>Select the image, right-click and choose </a:t>
            </a:r>
            <a:r>
              <a:rPr lang="en-US" sz="1100" i="1">
                <a:latin typeface="+mn-lt"/>
                <a:cs typeface="Tahoma" charset="0"/>
              </a:rPr>
              <a:t>crop</a:t>
            </a:r>
            <a:r>
              <a:rPr lang="en-US" sz="1100">
                <a:latin typeface="+mn-lt"/>
                <a:cs typeface="Tahoma" charset="0"/>
              </a:rPr>
              <a:t>. Now you can select the image section to be shown. </a:t>
            </a:r>
            <a:endParaRPr lang="en-US" sz="1000">
              <a:latin typeface="+mn-lt"/>
              <a:cs typeface="Tahoma" charset="0"/>
            </a:endParaRPr>
          </a:p>
        </p:txBody>
      </p:sp>
    </p:spTree>
    <p:extLst>
      <p:ext uri="{BB962C8B-B14F-4D97-AF65-F5344CB8AC3E}">
        <p14:creationId xmlns:p14="http://schemas.microsoft.com/office/powerpoint/2010/main" val="2642625916"/>
      </p:ext>
    </p:extLst>
  </p:cSld>
  <p:clrMapOvr>
    <a:masterClrMapping/>
  </p:clrMapOvr>
  <p:extLst>
    <p:ext uri="{DCECCB84-F9BA-43D5-87BE-67443E8EF086}">
      <p15:sldGuideLst xmlns:p15="http://schemas.microsoft.com/office/powerpoint/2012/main">
        <p15:guide id="2" orient="horz" pos="4201">
          <p15:clr>
            <a:srgbClr val="F26B43"/>
          </p15:clr>
        </p15:guide>
        <p15:guide id="3" orient="horz" pos="1049">
          <p15:clr>
            <a:srgbClr val="F26B43"/>
          </p15:clr>
        </p15:guide>
        <p15:guide id="4" pos="2730">
          <p15:clr>
            <a:srgbClr val="F26B43"/>
          </p15:clr>
        </p15:guide>
        <p15:guide id="6" pos="7447">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mpty Deep Blue">
    <p:bg>
      <p:bgPr>
        <a:solidFill>
          <a:schemeClr val="tx1"/>
        </a:solidFill>
        <a:effectLst/>
      </p:bgPr>
    </p:bg>
    <p:spTree>
      <p:nvGrpSpPr>
        <p:cNvPr id="1" name=""/>
        <p:cNvGrpSpPr/>
        <p:nvPr/>
      </p:nvGrpSpPr>
      <p:grpSpPr>
        <a:xfrm>
          <a:off x="0" y="0"/>
          <a:ext cx="0" cy="0"/>
          <a:chOff x="0" y="0"/>
          <a:chExt cx="0" cy="0"/>
        </a:xfrm>
      </p:grpSpPr>
      <p:sp>
        <p:nvSpPr>
          <p:cNvPr id="2" name="Fußzeilenplatzhalter 2" hidden="1">
            <a:extLst>
              <a:ext uri="{FF2B5EF4-FFF2-40B4-BE49-F238E27FC236}">
                <a16:creationId xmlns:a16="http://schemas.microsoft.com/office/drawing/2014/main" id="{F348C6A6-6127-431D-A4A1-5274DE4BEE0D}"/>
              </a:ext>
            </a:extLst>
          </p:cNvPr>
          <p:cNvSpPr>
            <a:spLocks noGrp="1"/>
          </p:cNvSpPr>
          <p:nvPr>
            <p:ph type="ftr" sz="quarter" idx="13"/>
          </p:nvPr>
        </p:nvSpPr>
        <p:spPr>
          <a:xfrm rot="16200000">
            <a:off x="10021500" y="3555244"/>
            <a:ext cx="3960000" cy="180000"/>
          </a:xfrm>
        </p:spPr>
        <p:txBody>
          <a:bodyPr/>
          <a:lstStyle>
            <a:lvl1pPr>
              <a:defRPr>
                <a:noFill/>
              </a:defRPr>
            </a:lvl1pPr>
          </a:lstStyle>
          <a:p>
            <a:r>
              <a:rPr lang="en-US"/>
              <a:t>Footer of the presentation</a:t>
            </a:r>
          </a:p>
        </p:txBody>
      </p:sp>
      <p:sp>
        <p:nvSpPr>
          <p:cNvPr id="3" name="Foliennummernplatzhalter 4" hidden="1">
            <a:extLst>
              <a:ext uri="{FF2B5EF4-FFF2-40B4-BE49-F238E27FC236}">
                <a16:creationId xmlns:a16="http://schemas.microsoft.com/office/drawing/2014/main" id="{99F8DBB4-24F1-456A-A5F5-BD26C65C30FB}"/>
              </a:ext>
            </a:extLst>
          </p:cNvPr>
          <p:cNvSpPr>
            <a:spLocks noGrp="1"/>
          </p:cNvSpPr>
          <p:nvPr>
            <p:ph type="sldNum" sz="quarter" idx="14"/>
          </p:nvPr>
        </p:nvSpPr>
        <p:spPr>
          <a:xfrm rot="16200000">
            <a:off x="11785500" y="6363360"/>
            <a:ext cx="432000" cy="180000"/>
          </a:xfrm>
        </p:spPr>
        <p:txBody>
          <a:bodyPr/>
          <a:lstStyle>
            <a:lvl1pPr>
              <a:defRPr>
                <a:noFill/>
              </a:defRPr>
            </a:lvl1pPr>
          </a:lstStyle>
          <a:p>
            <a:fld id="{0D1F56E0-B6F6-48D7-9539-F293D99B01ED}" type="slidenum">
              <a:rPr lang="en-US" smtClean="0"/>
              <a:pPr/>
              <a:t>‹#›</a:t>
            </a:fld>
            <a:endParaRPr lang="en-US"/>
          </a:p>
        </p:txBody>
      </p:sp>
    </p:spTree>
    <p:extLst>
      <p:ext uri="{BB962C8B-B14F-4D97-AF65-F5344CB8AC3E}">
        <p14:creationId xmlns:p14="http://schemas.microsoft.com/office/powerpoint/2010/main" val="1553860196"/>
      </p:ext>
    </p:extLst>
  </p:cSld>
  <p:clrMapOvr>
    <a:masterClrMapping/>
  </p:clrMapOvr>
  <p:extLst>
    <p:ext uri="{DCECCB84-F9BA-43D5-87BE-67443E8EF086}">
      <p15:sldGuideLst xmlns:p15="http://schemas.microsoft.com/office/powerpoint/2012/main">
        <p15:guide id="3" pos="7560">
          <p15:clr>
            <a:srgbClr val="F26B43"/>
          </p15:clr>
        </p15:guide>
        <p15:guide id="4" pos="122">
          <p15:clr>
            <a:srgbClr val="F26B43"/>
          </p15:clr>
        </p15:guide>
        <p15:guide id="5" orient="horz" pos="119">
          <p15:clr>
            <a:srgbClr val="F26B43"/>
          </p15:clr>
        </p15:guide>
        <p15:guide id="6" orient="horz" pos="4201">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Zwei Inhalte und Bild oben">
    <p:spTree>
      <p:nvGrpSpPr>
        <p:cNvPr id="1" name=""/>
        <p:cNvGrpSpPr/>
        <p:nvPr/>
      </p:nvGrpSpPr>
      <p:grpSpPr>
        <a:xfrm>
          <a:off x="0" y="0"/>
          <a:ext cx="0" cy="0"/>
          <a:chOff x="0" y="0"/>
          <a:chExt cx="0" cy="0"/>
        </a:xfrm>
      </p:grpSpPr>
      <p:sp>
        <p:nvSpPr>
          <p:cNvPr id="2" name="Titel 1"/>
          <p:cNvSpPr>
            <a:spLocks noGrp="1"/>
          </p:cNvSpPr>
          <p:nvPr>
            <p:ph type="title"/>
          </p:nvPr>
        </p:nvSpPr>
        <p:spPr>
          <a:xfrm>
            <a:off x="432000" y="2780928"/>
            <a:ext cx="11160000" cy="900000"/>
          </a:xfrm>
        </p:spPr>
        <p:txBody>
          <a:bodyPr/>
          <a:lstStyle/>
          <a:p>
            <a:r>
              <a:rPr lang="en-US"/>
              <a:t>Click to edit Master title style</a:t>
            </a:r>
            <a:endParaRPr lang="de-DE"/>
          </a:p>
        </p:txBody>
      </p:sp>
      <p:sp>
        <p:nvSpPr>
          <p:cNvPr id="4" name="Fußzeilenplatzhalter 3"/>
          <p:cNvSpPr>
            <a:spLocks noGrp="1"/>
          </p:cNvSpPr>
          <p:nvPr>
            <p:ph type="ftr" sz="quarter" idx="11"/>
          </p:nvPr>
        </p:nvSpPr>
        <p:spPr/>
        <p:txBody>
          <a:bodyPr/>
          <a:lstStyle/>
          <a:p>
            <a:endParaRPr lang="de-DE"/>
          </a:p>
        </p:txBody>
      </p:sp>
      <p:sp>
        <p:nvSpPr>
          <p:cNvPr id="9" name="Inhaltsplatzhalter 8"/>
          <p:cNvSpPr>
            <a:spLocks noGrp="1"/>
          </p:cNvSpPr>
          <p:nvPr>
            <p:ph sz="quarter" idx="13"/>
          </p:nvPr>
        </p:nvSpPr>
        <p:spPr>
          <a:xfrm>
            <a:off x="431999" y="3906000"/>
            <a:ext cx="5400000" cy="225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1" name="Inhaltsplatzhalter 10"/>
          <p:cNvSpPr>
            <a:spLocks noGrp="1"/>
          </p:cNvSpPr>
          <p:nvPr>
            <p:ph sz="quarter" idx="14"/>
          </p:nvPr>
        </p:nvSpPr>
        <p:spPr>
          <a:xfrm>
            <a:off x="6192000" y="3906000"/>
            <a:ext cx="5400000" cy="225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Bildplatzhalter 6"/>
          <p:cNvSpPr>
            <a:spLocks noGrp="1"/>
          </p:cNvSpPr>
          <p:nvPr>
            <p:ph type="pic" sz="quarter" idx="15"/>
          </p:nvPr>
        </p:nvSpPr>
        <p:spPr>
          <a:xfrm>
            <a:off x="0" y="0"/>
            <a:ext cx="12193200" cy="2520000"/>
          </a:xfrm>
          <a:solidFill>
            <a:schemeClr val="accent4"/>
          </a:solidFill>
        </p:spPr>
        <p:txBody>
          <a:bodyPr/>
          <a:lstStyle/>
          <a:p>
            <a:r>
              <a:rPr lang="en-US"/>
              <a:t>Click icon to add picture</a:t>
            </a:r>
            <a:endParaRPr lang="de-DE"/>
          </a:p>
        </p:txBody>
      </p:sp>
    </p:spTree>
    <p:extLst>
      <p:ext uri="{BB962C8B-B14F-4D97-AF65-F5344CB8AC3E}">
        <p14:creationId xmlns:p14="http://schemas.microsoft.com/office/powerpoint/2010/main" val="2200190049"/>
      </p:ext>
    </p:extLst>
  </p:cSld>
  <p:clrMapOvr>
    <a:masterClrMapping/>
  </p:clrMapOvr>
  <p:transition spd="slow">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color with picture">
    <p:spTree>
      <p:nvGrpSpPr>
        <p:cNvPr id="1" name=""/>
        <p:cNvGrpSpPr/>
        <p:nvPr/>
      </p:nvGrpSpPr>
      <p:grpSpPr>
        <a:xfrm>
          <a:off x="0" y="0"/>
          <a:ext cx="0" cy="0"/>
          <a:chOff x="0" y="0"/>
          <a:chExt cx="0" cy="0"/>
        </a:xfrm>
      </p:grpSpPr>
      <p:pic>
        <p:nvPicPr>
          <p:cNvPr id="12" name="Grafik 5">
            <a:extLst>
              <a:ext uri="{FF2B5EF4-FFF2-40B4-BE49-F238E27FC236}">
                <a16:creationId xmlns:a16="http://schemas.microsoft.com/office/drawing/2014/main" id="{8C8AD6FD-91B9-4ED2-84F1-DA7A91E56B3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285" b="1285"/>
          <a:stretch/>
        </p:blipFill>
        <p:spPr bwMode="gray">
          <a:xfrm>
            <a:off x="193675" y="188913"/>
            <a:ext cx="5922768" cy="6480176"/>
          </a:xfrm>
          <a:prstGeom prst="rect">
            <a:avLst/>
          </a:prstGeom>
        </p:spPr>
      </p:pic>
      <p:pic>
        <p:nvPicPr>
          <p:cNvPr id="13" name="Grafik 8">
            <a:extLst>
              <a:ext uri="{FF2B5EF4-FFF2-40B4-BE49-F238E27FC236}">
                <a16:creationId xmlns:a16="http://schemas.microsoft.com/office/drawing/2014/main" id="{8DE1A891-214D-4580-BE3D-588D0DAA68C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392771" y="5461543"/>
            <a:ext cx="2480331" cy="1015040"/>
          </a:xfrm>
          <a:prstGeom prst="rect">
            <a:avLst/>
          </a:prstGeom>
        </p:spPr>
      </p:pic>
      <p:sp>
        <p:nvSpPr>
          <p:cNvPr id="14" name="Grafik 2">
            <a:extLst>
              <a:ext uri="{FF2B5EF4-FFF2-40B4-BE49-F238E27FC236}">
                <a16:creationId xmlns:a16="http://schemas.microsoft.com/office/drawing/2014/main" id="{7031D732-CCA9-4C36-8819-A1F73D8A8E4E}"/>
              </a:ext>
            </a:extLst>
          </p:cNvPr>
          <p:cNvSpPr>
            <a:spLocks noChangeAspect="1"/>
          </p:cNvSpPr>
          <p:nvPr userDrawn="1"/>
        </p:nvSpPr>
        <p:spPr>
          <a:xfrm rot="2700000">
            <a:off x="4511902" y="844281"/>
            <a:ext cx="3165004" cy="3165863"/>
          </a:xfrm>
          <a:custGeom>
            <a:avLst/>
            <a:gdLst>
              <a:gd name="connsiteX0" fmla="*/ 3509963 w 3509962"/>
              <a:gd name="connsiteY0" fmla="*/ 1755458 h 3510915"/>
              <a:gd name="connsiteX1" fmla="*/ 3509963 w 3509962"/>
              <a:gd name="connsiteY1" fmla="*/ 1755458 h 3510915"/>
              <a:gd name="connsiteX2" fmla="*/ 1754505 w 3509962"/>
              <a:gd name="connsiteY2" fmla="*/ 3510915 h 3510915"/>
              <a:gd name="connsiteX3" fmla="*/ 0 w 3509962"/>
              <a:gd name="connsiteY3" fmla="*/ 1755458 h 3510915"/>
              <a:gd name="connsiteX4" fmla="*/ 0 w 3509962"/>
              <a:gd name="connsiteY4" fmla="*/ 0 h 3510915"/>
              <a:gd name="connsiteX5" fmla="*/ 1755458 w 3509962"/>
              <a:gd name="connsiteY5" fmla="*/ 0 h 3510915"/>
              <a:gd name="connsiteX6" fmla="*/ 3509963 w 3509962"/>
              <a:gd name="connsiteY6" fmla="*/ 1755458 h 351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9962" h="3510915">
                <a:moveTo>
                  <a:pt x="3509963" y="1755458"/>
                </a:moveTo>
                <a:lnTo>
                  <a:pt x="3509963" y="1755458"/>
                </a:lnTo>
                <a:cubicBezTo>
                  <a:pt x="3509963" y="2725103"/>
                  <a:pt x="2724150" y="3510915"/>
                  <a:pt x="1754505" y="3510915"/>
                </a:cubicBezTo>
                <a:cubicBezTo>
                  <a:pt x="784860" y="3510915"/>
                  <a:pt x="0" y="2724150"/>
                  <a:pt x="0" y="1755458"/>
                </a:cubicBezTo>
                <a:lnTo>
                  <a:pt x="0" y="0"/>
                </a:lnTo>
                <a:lnTo>
                  <a:pt x="1755458" y="0"/>
                </a:lnTo>
                <a:cubicBezTo>
                  <a:pt x="2724150" y="0"/>
                  <a:pt x="3509963" y="785813"/>
                  <a:pt x="3509963" y="1755458"/>
                </a:cubicBezTo>
              </a:path>
            </a:pathLst>
          </a:custGeom>
          <a:gradFill>
            <a:gsLst>
              <a:gs pos="100000">
                <a:schemeClr val="accent1">
                  <a:alpha val="20000"/>
                </a:schemeClr>
              </a:gs>
              <a:gs pos="50000">
                <a:srgbClr val="E6E100">
                  <a:alpha val="10000"/>
                </a:srgbClr>
              </a:gs>
            </a:gsLst>
            <a:lin ang="0" scaled="0"/>
          </a:gradFill>
          <a:ln w="9525" cap="flat">
            <a:noFill/>
            <a:prstDash val="solid"/>
            <a:miter/>
          </a:ln>
          <a:effectLst>
            <a:outerShdw blurRad="508000" dist="38100" dir="2700000" algn="tl" rotWithShape="0">
              <a:schemeClr val="bg2">
                <a:alpha val="40000"/>
              </a:schemeClr>
            </a:outerShdw>
          </a:effectLst>
        </p:spPr>
        <p:txBody>
          <a:bodyPr rtlCol="0" anchor="ctr"/>
          <a:lstStyle/>
          <a:p>
            <a:endParaRPr lang="en-US"/>
          </a:p>
        </p:txBody>
      </p:sp>
      <p:sp>
        <p:nvSpPr>
          <p:cNvPr id="15" name="Grafik 2">
            <a:extLst>
              <a:ext uri="{FF2B5EF4-FFF2-40B4-BE49-F238E27FC236}">
                <a16:creationId xmlns:a16="http://schemas.microsoft.com/office/drawing/2014/main" id="{735BD4B4-AADE-4CEC-BBE6-5754B2830F10}"/>
              </a:ext>
            </a:extLst>
          </p:cNvPr>
          <p:cNvSpPr>
            <a:spLocks noChangeAspect="1"/>
          </p:cNvSpPr>
          <p:nvPr userDrawn="1"/>
        </p:nvSpPr>
        <p:spPr>
          <a:xfrm rot="5400000">
            <a:off x="4009872" y="188628"/>
            <a:ext cx="2106280" cy="2106851"/>
          </a:xfrm>
          <a:custGeom>
            <a:avLst/>
            <a:gdLst>
              <a:gd name="connsiteX0" fmla="*/ 3509963 w 3509962"/>
              <a:gd name="connsiteY0" fmla="*/ 1755458 h 3510915"/>
              <a:gd name="connsiteX1" fmla="*/ 3509963 w 3509962"/>
              <a:gd name="connsiteY1" fmla="*/ 1755458 h 3510915"/>
              <a:gd name="connsiteX2" fmla="*/ 1754505 w 3509962"/>
              <a:gd name="connsiteY2" fmla="*/ 3510915 h 3510915"/>
              <a:gd name="connsiteX3" fmla="*/ 0 w 3509962"/>
              <a:gd name="connsiteY3" fmla="*/ 1755458 h 3510915"/>
              <a:gd name="connsiteX4" fmla="*/ 0 w 3509962"/>
              <a:gd name="connsiteY4" fmla="*/ 0 h 3510915"/>
              <a:gd name="connsiteX5" fmla="*/ 1755458 w 3509962"/>
              <a:gd name="connsiteY5" fmla="*/ 0 h 3510915"/>
              <a:gd name="connsiteX6" fmla="*/ 3509963 w 3509962"/>
              <a:gd name="connsiteY6" fmla="*/ 1755458 h 3510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9962" h="3510915">
                <a:moveTo>
                  <a:pt x="3509963" y="1755458"/>
                </a:moveTo>
                <a:lnTo>
                  <a:pt x="3509963" y="1755458"/>
                </a:lnTo>
                <a:cubicBezTo>
                  <a:pt x="3509963" y="2725103"/>
                  <a:pt x="2724150" y="3510915"/>
                  <a:pt x="1754505" y="3510915"/>
                </a:cubicBezTo>
                <a:cubicBezTo>
                  <a:pt x="784860" y="3510915"/>
                  <a:pt x="0" y="2724150"/>
                  <a:pt x="0" y="1755458"/>
                </a:cubicBezTo>
                <a:lnTo>
                  <a:pt x="0" y="0"/>
                </a:lnTo>
                <a:lnTo>
                  <a:pt x="1755458" y="0"/>
                </a:lnTo>
                <a:cubicBezTo>
                  <a:pt x="2724150" y="0"/>
                  <a:pt x="3509963" y="785813"/>
                  <a:pt x="3509963" y="1755458"/>
                </a:cubicBezTo>
              </a:path>
            </a:pathLst>
          </a:custGeom>
          <a:gradFill>
            <a:gsLst>
              <a:gs pos="100000">
                <a:schemeClr val="accent1">
                  <a:alpha val="20000"/>
                </a:schemeClr>
              </a:gs>
              <a:gs pos="50000">
                <a:srgbClr val="E6E100">
                  <a:alpha val="10000"/>
                </a:srgbClr>
              </a:gs>
            </a:gsLst>
            <a:lin ang="2700000" scaled="1"/>
          </a:gradFill>
          <a:ln w="9525" cap="flat">
            <a:noFill/>
            <a:prstDash val="solid"/>
            <a:miter/>
          </a:ln>
          <a:effectLst>
            <a:outerShdw blurRad="508000" dist="38100" dir="2700000" algn="tl" rotWithShape="0">
              <a:schemeClr val="bg2">
                <a:alpha val="40000"/>
              </a:schemeClr>
            </a:outerShdw>
          </a:effectLst>
        </p:spPr>
        <p:txBody>
          <a:bodyPr rtlCol="0" anchor="ctr"/>
          <a:lstStyle/>
          <a:p>
            <a:endParaRPr lang="en-US"/>
          </a:p>
        </p:txBody>
      </p:sp>
      <p:sp>
        <p:nvSpPr>
          <p:cNvPr id="16" name="Picture Placeholder 6">
            <a:extLst>
              <a:ext uri="{FF2B5EF4-FFF2-40B4-BE49-F238E27FC236}">
                <a16:creationId xmlns:a16="http://schemas.microsoft.com/office/drawing/2014/main" id="{FCA10FB3-2AB7-4C98-8C44-891B55FA043B}"/>
              </a:ext>
            </a:extLst>
          </p:cNvPr>
          <p:cNvSpPr>
            <a:spLocks noGrp="1"/>
          </p:cNvSpPr>
          <p:nvPr>
            <p:ph type="pic" sz="quarter" idx="10"/>
          </p:nvPr>
        </p:nvSpPr>
        <p:spPr bwMode="gray">
          <a:xfrm>
            <a:off x="6097587" y="188913"/>
            <a:ext cx="5903913" cy="6480176"/>
          </a:xfrm>
          <a:blipFill>
            <a:blip r:embed="rId5"/>
            <a:stretch>
              <a:fillRect/>
            </a:stretch>
          </a:blipFill>
        </p:spPr>
        <p:txBody>
          <a:bodyPr tIns="0" bIns="792000" anchor="ctr"/>
          <a:lstStyle>
            <a:lvl1pPr algn="ctr">
              <a:defRPr sz="1200"/>
            </a:lvl1pPr>
          </a:lstStyle>
          <a:p>
            <a:r>
              <a:rPr lang="zh-CN" altLang="en-US"/>
              <a:t>单击图标添加图片</a:t>
            </a:r>
            <a:endParaRPr lang="en-GB"/>
          </a:p>
        </p:txBody>
      </p:sp>
      <p:sp>
        <p:nvSpPr>
          <p:cNvPr id="2" name="Titel 1">
            <a:extLst>
              <a:ext uri="{FF2B5EF4-FFF2-40B4-BE49-F238E27FC236}">
                <a16:creationId xmlns:a16="http://schemas.microsoft.com/office/drawing/2014/main" id="{EC148958-44D8-4D46-9991-D3EBEB1A92F7}"/>
              </a:ext>
            </a:extLst>
          </p:cNvPr>
          <p:cNvSpPr>
            <a:spLocks noGrp="1"/>
          </p:cNvSpPr>
          <p:nvPr>
            <p:ph type="ctrTitle"/>
          </p:nvPr>
        </p:nvSpPr>
        <p:spPr>
          <a:xfrm>
            <a:off x="733425" y="2276872"/>
            <a:ext cx="5004122" cy="1656000"/>
          </a:xfrm>
        </p:spPr>
        <p:txBody>
          <a:bodyPr vert="horz" lIns="0" tIns="0" rIns="0" bIns="0" rtlCol="0" anchor="b">
            <a:noAutofit/>
          </a:bodyPr>
          <a:lstStyle>
            <a:lvl1pPr>
              <a:defRPr lang="de-DE" sz="3200">
                <a:solidFill>
                  <a:schemeClr val="bg1"/>
                </a:solidFill>
              </a:defRPr>
            </a:lvl1pPr>
          </a:lstStyle>
          <a:p>
            <a:pPr lvl="0"/>
            <a:r>
              <a:rPr lang="zh-CN" altLang="en-US"/>
              <a:t>单击此处编辑母版标题样式</a:t>
            </a:r>
            <a:endParaRPr lang="de-DE"/>
          </a:p>
        </p:txBody>
      </p:sp>
      <p:sp>
        <p:nvSpPr>
          <p:cNvPr id="3" name="Untertitel 2">
            <a:extLst>
              <a:ext uri="{FF2B5EF4-FFF2-40B4-BE49-F238E27FC236}">
                <a16:creationId xmlns:a16="http://schemas.microsoft.com/office/drawing/2014/main" id="{FA5B861B-70F7-479A-8850-81678B64A82D}"/>
              </a:ext>
            </a:extLst>
          </p:cNvPr>
          <p:cNvSpPr>
            <a:spLocks noGrp="1"/>
          </p:cNvSpPr>
          <p:nvPr>
            <p:ph type="subTitle" idx="1"/>
          </p:nvPr>
        </p:nvSpPr>
        <p:spPr>
          <a:xfrm>
            <a:off x="733425" y="4214106"/>
            <a:ext cx="5004122" cy="792000"/>
          </a:xfrm>
        </p:spPr>
        <p:txBody>
          <a:bodyPr vert="horz" lIns="0" tIns="0" rIns="0" bIns="0" rtlCol="0">
            <a:noAutofit/>
          </a:bodyPr>
          <a:lstStyle>
            <a:lvl1pPr>
              <a:defRPr lang="de-DE" dirty="0">
                <a:solidFill>
                  <a:schemeClr val="bg1"/>
                </a:solidFill>
              </a:defRPr>
            </a:lvl1pPr>
          </a:lstStyle>
          <a:p>
            <a:pPr lvl="0">
              <a:spcBef>
                <a:spcPts val="0"/>
              </a:spcBef>
            </a:pPr>
            <a:r>
              <a:rPr lang="zh-CN" altLang="en-US"/>
              <a:t>单击此处编辑母版副标题样式</a:t>
            </a:r>
            <a:endParaRPr lang="de-DE"/>
          </a:p>
        </p:txBody>
      </p:sp>
      <p:sp>
        <p:nvSpPr>
          <p:cNvPr id="9" name="Textfeld 11">
            <a:extLst>
              <a:ext uri="{FF2B5EF4-FFF2-40B4-BE49-F238E27FC236}">
                <a16:creationId xmlns:a16="http://schemas.microsoft.com/office/drawing/2014/main" id="{94074F99-344F-45DE-ADA1-679BC5BF1E20}"/>
              </a:ext>
            </a:extLst>
          </p:cNvPr>
          <p:cNvSpPr txBox="1">
            <a:spLocks noChangeArrowheads="1"/>
          </p:cNvSpPr>
          <p:nvPr userDrawn="1"/>
        </p:nvSpPr>
        <p:spPr bwMode="auto">
          <a:xfrm>
            <a:off x="-2291345" y="209164"/>
            <a:ext cx="2067146" cy="2672916"/>
          </a:xfrm>
          <a:prstGeom prst="rect">
            <a:avLst/>
          </a:prstGeom>
          <a:solidFill>
            <a:schemeClr val="bg1">
              <a:lumMod val="95000"/>
            </a:schemeClr>
          </a:solidFill>
          <a:ln>
            <a:solidFill>
              <a:srgbClr val="BFBFBF"/>
            </a:solidFill>
          </a:ln>
        </p:spPr>
        <p:txBody>
          <a:bodyPr wrap="square" lIns="35996" tIns="35996" rIns="35996" bIns="35996">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eaLnBrk="1" fontAlgn="base" hangingPunct="1">
              <a:spcBef>
                <a:spcPct val="0"/>
              </a:spcBef>
              <a:spcAft>
                <a:spcPct val="0"/>
              </a:spcAft>
            </a:pPr>
            <a:r>
              <a:rPr lang="en-US" sz="1100">
                <a:solidFill>
                  <a:schemeClr val="bg2"/>
                </a:solidFill>
                <a:latin typeface="+mn-lt"/>
                <a:cs typeface="Tahoma" charset="0"/>
              </a:rPr>
              <a:t>How to insert a photo?</a:t>
            </a:r>
            <a:endParaRPr lang="en-US" sz="1100">
              <a:latin typeface="+mn-lt"/>
              <a:cs typeface="Tahoma" charset="0"/>
            </a:endParaRPr>
          </a:p>
          <a:p>
            <a:pPr eaLnBrk="1" fontAlgn="base" hangingPunct="1">
              <a:spcBef>
                <a:spcPct val="0"/>
              </a:spcBef>
              <a:spcAft>
                <a:spcPct val="0"/>
              </a:spcAft>
            </a:pPr>
            <a:r>
              <a:rPr lang="en-US" sz="1100">
                <a:latin typeface="+mn-lt"/>
                <a:cs typeface="Tahoma" charset="0"/>
              </a:rPr>
              <a:t>Click the icon to add a picture from a file, or open the Cumulus Browser and select an image, click on the placeholder, and click insert in the Cumulus Browser. The image will be inserted to fit the size of the placeholder. </a:t>
            </a:r>
          </a:p>
          <a:p>
            <a:pPr eaLnBrk="1" fontAlgn="base" hangingPunct="1">
              <a:spcBef>
                <a:spcPct val="0"/>
              </a:spcBef>
              <a:spcAft>
                <a:spcPct val="0"/>
              </a:spcAft>
            </a:pPr>
            <a:endParaRPr lang="en-US" sz="1100">
              <a:latin typeface="+mn-lt"/>
              <a:cs typeface="Tahoma" charset="0"/>
            </a:endParaRPr>
          </a:p>
          <a:p>
            <a:pPr eaLnBrk="1" fontAlgn="base" hangingPunct="1">
              <a:spcBef>
                <a:spcPct val="0"/>
              </a:spcBef>
              <a:spcAft>
                <a:spcPct val="0"/>
              </a:spcAft>
            </a:pPr>
            <a:r>
              <a:rPr lang="en-US" sz="1100">
                <a:solidFill>
                  <a:schemeClr val="bg2"/>
                </a:solidFill>
                <a:latin typeface="+mn-lt"/>
                <a:cs typeface="Tahoma" charset="0"/>
              </a:rPr>
              <a:t>Want to customize the image section? </a:t>
            </a:r>
          </a:p>
          <a:p>
            <a:pPr eaLnBrk="1" fontAlgn="base" hangingPunct="1">
              <a:spcBef>
                <a:spcPct val="0"/>
              </a:spcBef>
              <a:spcAft>
                <a:spcPct val="0"/>
              </a:spcAft>
            </a:pPr>
            <a:r>
              <a:rPr lang="en-US" sz="1100">
                <a:latin typeface="+mn-lt"/>
                <a:cs typeface="Tahoma" charset="0"/>
              </a:rPr>
              <a:t>Select the image, right-click and choose </a:t>
            </a:r>
            <a:r>
              <a:rPr lang="en-US" sz="1100" i="1">
                <a:latin typeface="+mn-lt"/>
                <a:cs typeface="Tahoma" charset="0"/>
              </a:rPr>
              <a:t>crop</a:t>
            </a:r>
            <a:r>
              <a:rPr lang="en-US" sz="1100">
                <a:latin typeface="+mn-lt"/>
                <a:cs typeface="Tahoma" charset="0"/>
              </a:rPr>
              <a:t>. Now you can select the image section to be shown. </a:t>
            </a:r>
            <a:endParaRPr lang="en-US" sz="1000">
              <a:latin typeface="+mn-lt"/>
              <a:cs typeface="Tahoma" charset="0"/>
            </a:endParaRPr>
          </a:p>
        </p:txBody>
      </p:sp>
      <p:sp>
        <p:nvSpPr>
          <p:cNvPr id="10" name="Fußzeilenplatzhalter 2" hidden="1">
            <a:extLst>
              <a:ext uri="{FF2B5EF4-FFF2-40B4-BE49-F238E27FC236}">
                <a16:creationId xmlns:a16="http://schemas.microsoft.com/office/drawing/2014/main" id="{427787C1-D22E-4026-A434-DE36751D5F17}"/>
              </a:ext>
            </a:extLst>
          </p:cNvPr>
          <p:cNvSpPr>
            <a:spLocks noGrp="1"/>
          </p:cNvSpPr>
          <p:nvPr>
            <p:ph type="ftr" sz="quarter" idx="11"/>
          </p:nvPr>
        </p:nvSpPr>
        <p:spPr>
          <a:xfrm rot="16200000">
            <a:off x="10021500" y="3555244"/>
            <a:ext cx="3960000" cy="180000"/>
          </a:xfrm>
        </p:spPr>
        <p:txBody>
          <a:bodyPr/>
          <a:lstStyle>
            <a:lvl1pPr>
              <a:defRPr>
                <a:noFill/>
              </a:defRPr>
            </a:lvl1pPr>
          </a:lstStyle>
          <a:p>
            <a:r>
              <a:rPr lang="en-US"/>
              <a:t>Footer of the presentation</a:t>
            </a:r>
          </a:p>
        </p:txBody>
      </p:sp>
      <p:sp>
        <p:nvSpPr>
          <p:cNvPr id="11" name="Foliennummernplatzhalter 4" hidden="1">
            <a:extLst>
              <a:ext uri="{FF2B5EF4-FFF2-40B4-BE49-F238E27FC236}">
                <a16:creationId xmlns:a16="http://schemas.microsoft.com/office/drawing/2014/main" id="{23F35832-EC77-4151-9BE5-639756BC6E4D}"/>
              </a:ext>
            </a:extLst>
          </p:cNvPr>
          <p:cNvSpPr>
            <a:spLocks noGrp="1"/>
          </p:cNvSpPr>
          <p:nvPr>
            <p:ph type="sldNum" sz="quarter" idx="12"/>
          </p:nvPr>
        </p:nvSpPr>
        <p:spPr>
          <a:xfrm rot="16200000">
            <a:off x="11785500" y="6363360"/>
            <a:ext cx="432000" cy="180000"/>
          </a:xfrm>
        </p:spPr>
        <p:txBody>
          <a:bodyPr/>
          <a:lstStyle>
            <a:lvl1pPr>
              <a:defRPr>
                <a:noFill/>
              </a:defRPr>
            </a:lvl1pPr>
          </a:lstStyle>
          <a:p>
            <a:fld id="{0D1F56E0-B6F6-48D7-9539-F293D99B01ED}" type="slidenum">
              <a:rPr lang="en-US" smtClean="0"/>
              <a:pPr/>
              <a:t>‹#›</a:t>
            </a:fld>
            <a:endParaRPr lang="en-US"/>
          </a:p>
        </p:txBody>
      </p:sp>
    </p:spTree>
    <p:extLst>
      <p:ext uri="{BB962C8B-B14F-4D97-AF65-F5344CB8AC3E}">
        <p14:creationId xmlns:p14="http://schemas.microsoft.com/office/powerpoint/2010/main" val="37553033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pictur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7F48E15-2936-4E17-AE86-145719A1B8E1}"/>
              </a:ext>
            </a:extLst>
          </p:cNvPr>
          <p:cNvGraphicFramePr>
            <a:graphicFrameLocks noChangeAspect="1"/>
          </p:cNvGraphicFramePr>
          <p:nvPr userDrawn="1">
            <p:custDataLst>
              <p:tags r:id="rId1"/>
            </p:custDataLst>
            <p:extLst>
              <p:ext uri="{D42A27DB-BD31-4B8C-83A1-F6EECF244321}">
                <p14:modId xmlns:p14="http://schemas.microsoft.com/office/powerpoint/2010/main" val="728548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6" progId="TCLayout.ActiveDocument.1">
                  <p:embed/>
                </p:oleObj>
              </mc:Choice>
              <mc:Fallback>
                <p:oleObj name="think-cell Slide" r:id="rId3" imgW="347" imgH="346" progId="TCLayout.ActiveDocument.1">
                  <p:embed/>
                  <p:pic>
                    <p:nvPicPr>
                      <p:cNvPr id="5" name="Object 4" hidden="1">
                        <a:extLst>
                          <a:ext uri="{FF2B5EF4-FFF2-40B4-BE49-F238E27FC236}">
                            <a16:creationId xmlns:a16="http://schemas.microsoft.com/office/drawing/2014/main" id="{B7F48E15-2936-4E17-AE86-145719A1B8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723A44C5-8782-4561-978B-3FAACEBCBDB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93675" y="188913"/>
            <a:ext cx="11807826" cy="6480175"/>
          </a:xfrm>
          <a:prstGeom prst="rect">
            <a:avLst/>
          </a:prstGeom>
        </p:spPr>
      </p:pic>
      <p:sp>
        <p:nvSpPr>
          <p:cNvPr id="11" name="Rectangle 10">
            <a:extLst>
              <a:ext uri="{FF2B5EF4-FFF2-40B4-BE49-F238E27FC236}">
                <a16:creationId xmlns:a16="http://schemas.microsoft.com/office/drawing/2014/main" id="{56ED09A2-4449-4736-98CF-467B28CEC7B8}"/>
              </a:ext>
            </a:extLst>
          </p:cNvPr>
          <p:cNvSpPr/>
          <p:nvPr userDrawn="1"/>
        </p:nvSpPr>
        <p:spPr bwMode="gray">
          <a:xfrm>
            <a:off x="193675" y="188913"/>
            <a:ext cx="11807825" cy="6480175"/>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err="1">
              <a:solidFill>
                <a:schemeClr val="tx2"/>
              </a:solidFill>
              <a:latin typeface="Arial" panose="020B0604020202020204" pitchFamily="34" charset="0"/>
              <a:cs typeface="Arial" panose="020B0604020202020204" pitchFamily="34" charset="0"/>
            </a:endParaRPr>
          </a:p>
        </p:txBody>
      </p:sp>
      <p:sp>
        <p:nvSpPr>
          <p:cNvPr id="2" name="Titel 1">
            <a:extLst>
              <a:ext uri="{FF2B5EF4-FFF2-40B4-BE49-F238E27FC236}">
                <a16:creationId xmlns:a16="http://schemas.microsoft.com/office/drawing/2014/main" id="{49FCC374-CCBB-4D06-B936-26263E8E67DE}"/>
              </a:ext>
            </a:extLst>
          </p:cNvPr>
          <p:cNvSpPr>
            <a:spLocks noGrp="1"/>
          </p:cNvSpPr>
          <p:nvPr>
            <p:ph type="ctrTitle" hasCustomPrompt="1"/>
          </p:nvPr>
        </p:nvSpPr>
        <p:spPr bwMode="gray">
          <a:xfrm>
            <a:off x="733425" y="2276872"/>
            <a:ext cx="5004122" cy="1656000"/>
          </a:xfrm>
        </p:spPr>
        <p:txBody>
          <a:bodyPr vert="horz" anchor="b">
            <a:noAutofit/>
          </a:bodyPr>
          <a:lstStyle>
            <a:lvl1pPr algn="l">
              <a:defRPr sz="3200">
                <a:solidFill>
                  <a:schemeClr val="bg2"/>
                </a:solidFill>
              </a:defRPr>
            </a:lvl1pPr>
          </a:lstStyle>
          <a:p>
            <a:r>
              <a:rPr lang="en-US"/>
              <a:t>Click to add title</a:t>
            </a:r>
          </a:p>
        </p:txBody>
      </p:sp>
      <p:sp>
        <p:nvSpPr>
          <p:cNvPr id="3" name="Untertitel 2">
            <a:extLst>
              <a:ext uri="{FF2B5EF4-FFF2-40B4-BE49-F238E27FC236}">
                <a16:creationId xmlns:a16="http://schemas.microsoft.com/office/drawing/2014/main" id="{6102B932-3BA9-4B43-9947-BCAC59741881}"/>
              </a:ext>
            </a:extLst>
          </p:cNvPr>
          <p:cNvSpPr>
            <a:spLocks noGrp="1"/>
          </p:cNvSpPr>
          <p:nvPr>
            <p:ph type="subTitle" idx="1" hasCustomPrompt="1"/>
          </p:nvPr>
        </p:nvSpPr>
        <p:spPr bwMode="gray">
          <a:xfrm>
            <a:off x="733425" y="4214106"/>
            <a:ext cx="5004122" cy="792000"/>
          </a:xfrm>
        </p:spPr>
        <p:txBody>
          <a:bodyPr/>
          <a:lstStyle>
            <a:lvl1pPr marL="0" indent="0" algn="l">
              <a:buNone/>
              <a:defRPr sz="1800">
                <a:solidFill>
                  <a:schemeClr val="tx1"/>
                </a:solidFill>
              </a:defRPr>
            </a:lvl1pPr>
            <a:lvl2pPr marL="0" indent="0" algn="l">
              <a:buNone/>
              <a:defRPr sz="1800"/>
            </a:lvl2pPr>
            <a:lvl3pPr marL="0" indent="0" algn="l">
              <a:buNone/>
              <a:defRPr sz="1800"/>
            </a:lvl3pPr>
            <a:lvl4pPr marL="0" indent="0" algn="l">
              <a:buNone/>
              <a:defRPr sz="1800"/>
            </a:lvl4pPr>
            <a:lvl5pPr marL="0" indent="0" algn="l">
              <a:buNone/>
              <a:defRPr sz="18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a:p>
            <a:pPr lvl="1"/>
            <a:r>
              <a:rPr lang="en-US"/>
              <a:t>Second Level</a:t>
            </a:r>
          </a:p>
          <a:p>
            <a:pPr lvl="2"/>
            <a:r>
              <a:rPr lang="en-US"/>
              <a:t>Three</a:t>
            </a:r>
          </a:p>
          <a:p>
            <a:pPr lvl="3"/>
            <a:r>
              <a:rPr lang="en-US"/>
              <a:t>Four</a:t>
            </a:r>
          </a:p>
          <a:p>
            <a:pPr lvl="4"/>
            <a:r>
              <a:rPr lang="en-US"/>
              <a:t>Five</a:t>
            </a:r>
          </a:p>
        </p:txBody>
      </p:sp>
      <p:sp>
        <p:nvSpPr>
          <p:cNvPr id="13" name="Text Placeholder 11">
            <a:extLst>
              <a:ext uri="{FF2B5EF4-FFF2-40B4-BE49-F238E27FC236}">
                <a16:creationId xmlns:a16="http://schemas.microsoft.com/office/drawing/2014/main" id="{A29B9E1F-CF5A-4DC9-8C6B-057D8E0740A4}"/>
              </a:ext>
            </a:extLst>
          </p:cNvPr>
          <p:cNvSpPr>
            <a:spLocks noGrp="1"/>
          </p:cNvSpPr>
          <p:nvPr>
            <p:ph type="body" sz="quarter" idx="12" hasCustomPrompt="1"/>
          </p:nvPr>
        </p:nvSpPr>
        <p:spPr bwMode="gray">
          <a:xfrm>
            <a:off x="392771" y="5461543"/>
            <a:ext cx="2480400" cy="1015200"/>
          </a:xfrm>
          <a:blipFill>
            <a:blip r:embed="rId6">
              <a:extLst>
                <a:ext uri="{96DAC541-7B7A-43D3-8B79-37D633B846F1}">
                  <asvg:svgBlip xmlns:asvg="http://schemas.microsoft.com/office/drawing/2016/SVG/main" r:embed="rId7"/>
                </a:ext>
              </a:extLst>
            </a:blip>
            <a:stretch>
              <a:fillRect/>
            </a:stretch>
          </a:blipFill>
          <a:ln>
            <a:solidFill>
              <a:schemeClr val="bg2">
                <a:alpha val="0"/>
              </a:schemeClr>
            </a:solidFill>
          </a:ln>
        </p:spPr>
        <p:txBody>
          <a:bodyPr/>
          <a:lstStyle/>
          <a:p>
            <a:pPr lvl="0"/>
            <a:r>
              <a:rPr lang="en-US"/>
              <a:t> </a:t>
            </a:r>
          </a:p>
        </p:txBody>
      </p:sp>
    </p:spTree>
    <p:extLst>
      <p:ext uri="{BB962C8B-B14F-4D97-AF65-F5344CB8AC3E}">
        <p14:creationId xmlns:p14="http://schemas.microsoft.com/office/powerpoint/2010/main" val="3856360625"/>
      </p:ext>
    </p:extLst>
  </p:cSld>
  <p:clrMapOvr>
    <a:masterClrMapping/>
  </p:clrMapOvr>
  <p:extLst>
    <p:ext uri="{DCECCB84-F9BA-43D5-87BE-67443E8EF086}">
      <p15:sldGuideLst xmlns:p15="http://schemas.microsoft.com/office/powerpoint/2012/main">
        <p15:guide id="1" pos="122">
          <p15:clr>
            <a:srgbClr val="F26B43"/>
          </p15:clr>
        </p15:guide>
        <p15:guide id="2" orient="horz" pos="119">
          <p15:clr>
            <a:srgbClr val="F26B43"/>
          </p15:clr>
        </p15:guide>
        <p15:guide id="3" orient="horz" pos="4201">
          <p15:clr>
            <a:srgbClr val="F26B43"/>
          </p15:clr>
        </p15:guide>
        <p15:guide id="4" pos="756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4" name="Fußzeilenplatzhalter 3"/>
          <p:cNvSpPr>
            <a:spLocks noGrp="1"/>
          </p:cNvSpPr>
          <p:nvPr>
            <p:ph type="ftr" sz="quarter" idx="11"/>
          </p:nvPr>
        </p:nvSpPr>
        <p:spPr/>
        <p:txBody>
          <a:bodyPr/>
          <a:lstStyle/>
          <a:p>
            <a:r>
              <a:rPr lang="de-DE"/>
              <a:t>Rice Flour | Buhler China | 2020  </a:t>
            </a:r>
          </a:p>
        </p:txBody>
      </p:sp>
    </p:spTree>
    <p:extLst>
      <p:ext uri="{BB962C8B-B14F-4D97-AF65-F5344CB8AC3E}">
        <p14:creationId xmlns:p14="http://schemas.microsoft.com/office/powerpoint/2010/main" val="12343326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icture only">
    <p:spTree>
      <p:nvGrpSpPr>
        <p:cNvPr id="1" name=""/>
        <p:cNvGrpSpPr/>
        <p:nvPr/>
      </p:nvGrpSpPr>
      <p:grpSpPr>
        <a:xfrm>
          <a:off x="0" y="0"/>
          <a:ext cx="0" cy="0"/>
          <a:chOff x="0" y="0"/>
          <a:chExt cx="0" cy="0"/>
        </a:xfrm>
      </p:grpSpPr>
      <p:pic>
        <p:nvPicPr>
          <p:cNvPr id="13" name="Grafik 8">
            <a:extLst>
              <a:ext uri="{FF2B5EF4-FFF2-40B4-BE49-F238E27FC236}">
                <a16:creationId xmlns:a16="http://schemas.microsoft.com/office/drawing/2014/main" id="{8DE1A891-214D-4580-BE3D-588D0DAA68C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392771" y="5461543"/>
            <a:ext cx="2480331" cy="1015040"/>
          </a:xfrm>
          <a:prstGeom prst="rect">
            <a:avLst/>
          </a:prstGeom>
        </p:spPr>
      </p:pic>
      <p:sp>
        <p:nvSpPr>
          <p:cNvPr id="16" name="Picture Placeholder 6">
            <a:extLst>
              <a:ext uri="{FF2B5EF4-FFF2-40B4-BE49-F238E27FC236}">
                <a16:creationId xmlns:a16="http://schemas.microsoft.com/office/drawing/2014/main" id="{FCA10FB3-2AB7-4C98-8C44-891B55FA043B}"/>
              </a:ext>
            </a:extLst>
          </p:cNvPr>
          <p:cNvSpPr>
            <a:spLocks noGrp="1"/>
          </p:cNvSpPr>
          <p:nvPr>
            <p:ph type="pic" sz="quarter" idx="10"/>
          </p:nvPr>
        </p:nvSpPr>
        <p:spPr bwMode="gray">
          <a:xfrm>
            <a:off x="193675" y="188913"/>
            <a:ext cx="11807825" cy="6480176"/>
          </a:xfrm>
          <a:blipFill>
            <a:blip r:embed="rId4"/>
            <a:stretch>
              <a:fillRect/>
            </a:stretch>
          </a:blipFill>
        </p:spPr>
        <p:txBody>
          <a:bodyPr tIns="0" bIns="792000" anchor="ctr"/>
          <a:lstStyle>
            <a:lvl1pPr algn="ctr">
              <a:defRPr sz="1200"/>
            </a:lvl1pPr>
          </a:lstStyle>
          <a:p>
            <a:r>
              <a:rPr lang="zh-CN" altLang="en-US"/>
              <a:t>单击图标添加图片</a:t>
            </a:r>
            <a:endParaRPr lang="en-GB"/>
          </a:p>
        </p:txBody>
      </p:sp>
      <p:sp>
        <p:nvSpPr>
          <p:cNvPr id="2" name="Titel 1">
            <a:extLst>
              <a:ext uri="{FF2B5EF4-FFF2-40B4-BE49-F238E27FC236}">
                <a16:creationId xmlns:a16="http://schemas.microsoft.com/office/drawing/2014/main" id="{EC148958-44D8-4D46-9991-D3EBEB1A92F7}"/>
              </a:ext>
            </a:extLst>
          </p:cNvPr>
          <p:cNvSpPr>
            <a:spLocks noGrp="1"/>
          </p:cNvSpPr>
          <p:nvPr>
            <p:ph type="ctrTitle"/>
          </p:nvPr>
        </p:nvSpPr>
        <p:spPr>
          <a:xfrm>
            <a:off x="6349615" y="2276872"/>
            <a:ext cx="5004122" cy="1656000"/>
          </a:xfrm>
        </p:spPr>
        <p:txBody>
          <a:bodyPr vert="horz" lIns="0" tIns="0" rIns="0" bIns="0" rtlCol="0" anchor="b">
            <a:noAutofit/>
          </a:bodyPr>
          <a:lstStyle>
            <a:lvl1pPr>
              <a:defRPr lang="de-DE" sz="3200">
                <a:solidFill>
                  <a:schemeClr val="tx1"/>
                </a:solidFill>
              </a:defRPr>
            </a:lvl1pPr>
          </a:lstStyle>
          <a:p>
            <a:pPr lvl="0"/>
            <a:r>
              <a:rPr lang="zh-CN" altLang="en-US"/>
              <a:t>单击此处编辑母版标题样式</a:t>
            </a:r>
            <a:endParaRPr lang="de-DE"/>
          </a:p>
        </p:txBody>
      </p:sp>
      <p:sp>
        <p:nvSpPr>
          <p:cNvPr id="3" name="Untertitel 2">
            <a:extLst>
              <a:ext uri="{FF2B5EF4-FFF2-40B4-BE49-F238E27FC236}">
                <a16:creationId xmlns:a16="http://schemas.microsoft.com/office/drawing/2014/main" id="{FA5B861B-70F7-479A-8850-81678B64A82D}"/>
              </a:ext>
            </a:extLst>
          </p:cNvPr>
          <p:cNvSpPr>
            <a:spLocks noGrp="1"/>
          </p:cNvSpPr>
          <p:nvPr>
            <p:ph type="subTitle" idx="1"/>
          </p:nvPr>
        </p:nvSpPr>
        <p:spPr>
          <a:xfrm>
            <a:off x="6349615" y="4214106"/>
            <a:ext cx="5004122" cy="792000"/>
          </a:xfrm>
        </p:spPr>
        <p:txBody>
          <a:bodyPr vert="horz" lIns="0" tIns="0" rIns="0" bIns="0" rtlCol="0">
            <a:noAutofit/>
          </a:bodyPr>
          <a:lstStyle>
            <a:lvl1pPr>
              <a:defRPr lang="de-DE" dirty="0">
                <a:solidFill>
                  <a:schemeClr val="tx1"/>
                </a:solidFill>
              </a:defRPr>
            </a:lvl1pPr>
          </a:lstStyle>
          <a:p>
            <a:pPr lvl="0">
              <a:spcBef>
                <a:spcPts val="0"/>
              </a:spcBef>
            </a:pPr>
            <a:r>
              <a:rPr lang="zh-CN" altLang="en-US"/>
              <a:t>单击此处编辑母版副标题样式</a:t>
            </a:r>
            <a:endParaRPr lang="de-DE"/>
          </a:p>
        </p:txBody>
      </p:sp>
      <p:sp>
        <p:nvSpPr>
          <p:cNvPr id="9" name="Textplatzhalter 4">
            <a:extLst>
              <a:ext uri="{FF2B5EF4-FFF2-40B4-BE49-F238E27FC236}">
                <a16:creationId xmlns:a16="http://schemas.microsoft.com/office/drawing/2014/main" id="{BD13310D-6E8C-4C3B-A065-8F5646CC920F}"/>
              </a:ext>
            </a:extLst>
          </p:cNvPr>
          <p:cNvSpPr>
            <a:spLocks noGrp="1"/>
          </p:cNvSpPr>
          <p:nvPr>
            <p:ph type="body" sz="quarter" idx="13" hasCustomPrompt="1"/>
          </p:nvPr>
        </p:nvSpPr>
        <p:spPr>
          <a:xfrm>
            <a:off x="2346359" y="350397"/>
            <a:ext cx="3499200" cy="4615200"/>
          </a:xfrm>
          <a:blipFill>
            <a:blip r:embed="rId5"/>
            <a:stretch>
              <a:fillRect/>
            </a:stretch>
          </a:blipFill>
        </p:spPr>
        <p:txBody>
          <a:bodyPr/>
          <a:lstStyle>
            <a:lvl1pPr>
              <a:defRPr sz="100">
                <a:solidFill>
                  <a:schemeClr val="bg1"/>
                </a:solidFill>
              </a:defRPr>
            </a:lvl1pPr>
          </a:lstStyle>
          <a:p>
            <a:pPr lvl="0"/>
            <a:r>
              <a:rPr lang="de-DE"/>
              <a:t> </a:t>
            </a:r>
          </a:p>
        </p:txBody>
      </p:sp>
      <p:sp>
        <p:nvSpPr>
          <p:cNvPr id="10" name="Text Placeholder 11">
            <a:extLst>
              <a:ext uri="{FF2B5EF4-FFF2-40B4-BE49-F238E27FC236}">
                <a16:creationId xmlns:a16="http://schemas.microsoft.com/office/drawing/2014/main" id="{4942D8C6-7C77-41D3-A5A5-531B7F0057EB}"/>
              </a:ext>
            </a:extLst>
          </p:cNvPr>
          <p:cNvSpPr>
            <a:spLocks noGrp="1"/>
          </p:cNvSpPr>
          <p:nvPr>
            <p:ph type="body" sz="quarter" idx="12" hasCustomPrompt="1"/>
          </p:nvPr>
        </p:nvSpPr>
        <p:spPr bwMode="gray">
          <a:xfrm>
            <a:off x="9328353" y="5461543"/>
            <a:ext cx="2480400" cy="1015200"/>
          </a:xfrm>
          <a:blipFill>
            <a:blip r:embed="rId2">
              <a:extLst>
                <a:ext uri="{96DAC541-7B7A-43D3-8B79-37D633B846F1}">
                  <asvg:svgBlip xmlns:asvg="http://schemas.microsoft.com/office/drawing/2016/SVG/main" r:embed="rId3"/>
                </a:ext>
              </a:extLst>
            </a:blip>
            <a:stretch>
              <a:fillRect/>
            </a:stretch>
          </a:blipFill>
          <a:ln>
            <a:solidFill>
              <a:schemeClr val="bg2">
                <a:alpha val="0"/>
              </a:schemeClr>
            </a:solidFill>
          </a:ln>
        </p:spPr>
        <p:txBody>
          <a:bodyPr/>
          <a:lstStyle>
            <a:lvl1pPr>
              <a:defRPr/>
            </a:lvl1pPr>
          </a:lstStyle>
          <a:p>
            <a:pPr lvl="0"/>
            <a:r>
              <a:rPr lang="en-US"/>
              <a:t> </a:t>
            </a:r>
          </a:p>
        </p:txBody>
      </p:sp>
      <p:sp>
        <p:nvSpPr>
          <p:cNvPr id="8" name="Textfeld 11">
            <a:extLst>
              <a:ext uri="{FF2B5EF4-FFF2-40B4-BE49-F238E27FC236}">
                <a16:creationId xmlns:a16="http://schemas.microsoft.com/office/drawing/2014/main" id="{77D6E00E-603C-4187-B9AD-7EFC1887FFBD}"/>
              </a:ext>
            </a:extLst>
          </p:cNvPr>
          <p:cNvSpPr txBox="1">
            <a:spLocks noChangeArrowheads="1"/>
          </p:cNvSpPr>
          <p:nvPr userDrawn="1"/>
        </p:nvSpPr>
        <p:spPr bwMode="auto">
          <a:xfrm>
            <a:off x="-2291345" y="209164"/>
            <a:ext cx="2067146" cy="2672916"/>
          </a:xfrm>
          <a:prstGeom prst="rect">
            <a:avLst/>
          </a:prstGeom>
          <a:solidFill>
            <a:schemeClr val="bg1">
              <a:lumMod val="95000"/>
            </a:schemeClr>
          </a:solidFill>
          <a:ln>
            <a:solidFill>
              <a:srgbClr val="BFBFBF"/>
            </a:solidFill>
          </a:ln>
        </p:spPr>
        <p:txBody>
          <a:bodyPr wrap="square" lIns="35996" tIns="35996" rIns="35996" bIns="35996">
            <a:noAutofit/>
          </a:bodyPr>
          <a:lstStyle>
            <a:lvl1pPr eaLnBrk="0" hangingPunct="0">
              <a:defRPr>
                <a:solidFill>
                  <a:schemeClr val="tx1"/>
                </a:solidFill>
                <a:latin typeface="Tahoma" charset="0"/>
              </a:defRPr>
            </a:lvl1pPr>
            <a:lvl2pPr marL="742950" indent="-285750" eaLnBrk="0" hangingPunct="0">
              <a:defRPr>
                <a:solidFill>
                  <a:schemeClr val="tx1"/>
                </a:solidFill>
                <a:latin typeface="Tahoma" charset="0"/>
              </a:defRPr>
            </a:lvl2pPr>
            <a:lvl3pPr marL="1143000" indent="-228600" eaLnBrk="0" hangingPunct="0">
              <a:defRPr>
                <a:solidFill>
                  <a:schemeClr val="tx1"/>
                </a:solidFill>
                <a:latin typeface="Tahoma" charset="0"/>
              </a:defRPr>
            </a:lvl3pPr>
            <a:lvl4pPr marL="1600200" indent="-228600" eaLnBrk="0" hangingPunct="0">
              <a:defRPr>
                <a:solidFill>
                  <a:schemeClr val="tx1"/>
                </a:solidFill>
                <a:latin typeface="Tahoma" charset="0"/>
              </a:defRPr>
            </a:lvl4pPr>
            <a:lvl5pPr marL="2057400" indent="-228600" eaLnBrk="0" hangingPunct="0">
              <a:defRPr>
                <a:solidFill>
                  <a:schemeClr val="tx1"/>
                </a:solidFill>
                <a:latin typeface="Tahoma" charset="0"/>
              </a:defRPr>
            </a:lvl5pPr>
            <a:lvl6pPr marL="2514600" indent="-228600" algn="ctr" eaLnBrk="0" fontAlgn="base" hangingPunct="0">
              <a:spcBef>
                <a:spcPct val="50000"/>
              </a:spcBef>
              <a:spcAft>
                <a:spcPct val="0"/>
              </a:spcAft>
              <a:defRPr>
                <a:solidFill>
                  <a:schemeClr val="tx1"/>
                </a:solidFill>
                <a:latin typeface="Tahoma" charset="0"/>
              </a:defRPr>
            </a:lvl6pPr>
            <a:lvl7pPr marL="2971800" indent="-228600" algn="ctr" eaLnBrk="0" fontAlgn="base" hangingPunct="0">
              <a:spcBef>
                <a:spcPct val="50000"/>
              </a:spcBef>
              <a:spcAft>
                <a:spcPct val="0"/>
              </a:spcAft>
              <a:defRPr>
                <a:solidFill>
                  <a:schemeClr val="tx1"/>
                </a:solidFill>
                <a:latin typeface="Tahoma" charset="0"/>
              </a:defRPr>
            </a:lvl7pPr>
            <a:lvl8pPr marL="3429000" indent="-228600" algn="ctr" eaLnBrk="0" fontAlgn="base" hangingPunct="0">
              <a:spcBef>
                <a:spcPct val="50000"/>
              </a:spcBef>
              <a:spcAft>
                <a:spcPct val="0"/>
              </a:spcAft>
              <a:defRPr>
                <a:solidFill>
                  <a:schemeClr val="tx1"/>
                </a:solidFill>
                <a:latin typeface="Tahoma" charset="0"/>
              </a:defRPr>
            </a:lvl8pPr>
            <a:lvl9pPr marL="3886200" indent="-228600" algn="ctr" eaLnBrk="0" fontAlgn="base" hangingPunct="0">
              <a:spcBef>
                <a:spcPct val="50000"/>
              </a:spcBef>
              <a:spcAft>
                <a:spcPct val="0"/>
              </a:spcAft>
              <a:defRPr>
                <a:solidFill>
                  <a:schemeClr val="tx1"/>
                </a:solidFill>
                <a:latin typeface="Tahoma" charset="0"/>
              </a:defRPr>
            </a:lvl9pPr>
          </a:lstStyle>
          <a:p>
            <a:pPr eaLnBrk="1" fontAlgn="base" hangingPunct="1">
              <a:spcBef>
                <a:spcPct val="0"/>
              </a:spcBef>
              <a:spcAft>
                <a:spcPct val="0"/>
              </a:spcAft>
            </a:pPr>
            <a:r>
              <a:rPr lang="en-US" sz="1100">
                <a:solidFill>
                  <a:schemeClr val="bg2"/>
                </a:solidFill>
                <a:latin typeface="+mn-lt"/>
                <a:cs typeface="Tahoma" charset="0"/>
              </a:rPr>
              <a:t>How to insert a photo?</a:t>
            </a:r>
            <a:endParaRPr lang="en-US" sz="1100">
              <a:latin typeface="+mn-lt"/>
              <a:cs typeface="Tahoma" charset="0"/>
            </a:endParaRPr>
          </a:p>
          <a:p>
            <a:pPr eaLnBrk="1" fontAlgn="base" hangingPunct="1">
              <a:spcBef>
                <a:spcPct val="0"/>
              </a:spcBef>
              <a:spcAft>
                <a:spcPct val="0"/>
              </a:spcAft>
            </a:pPr>
            <a:r>
              <a:rPr lang="en-US" sz="1100">
                <a:latin typeface="+mn-lt"/>
                <a:cs typeface="Tahoma" charset="0"/>
              </a:rPr>
              <a:t>Click the icon to add a picture from a file, or open the Cumulus Browser and select an image, click on the placeholder, and click insert in the Cumulus Browser. The image will be inserted to fit the size of the placeholder. </a:t>
            </a:r>
          </a:p>
          <a:p>
            <a:pPr eaLnBrk="1" fontAlgn="base" hangingPunct="1">
              <a:spcBef>
                <a:spcPct val="0"/>
              </a:spcBef>
              <a:spcAft>
                <a:spcPct val="0"/>
              </a:spcAft>
            </a:pPr>
            <a:endParaRPr lang="en-US" sz="1100">
              <a:latin typeface="+mn-lt"/>
              <a:cs typeface="Tahoma" charset="0"/>
            </a:endParaRPr>
          </a:p>
          <a:p>
            <a:pPr eaLnBrk="1" fontAlgn="base" hangingPunct="1">
              <a:spcBef>
                <a:spcPct val="0"/>
              </a:spcBef>
              <a:spcAft>
                <a:spcPct val="0"/>
              </a:spcAft>
            </a:pPr>
            <a:r>
              <a:rPr lang="en-US" sz="1100">
                <a:solidFill>
                  <a:schemeClr val="bg2"/>
                </a:solidFill>
                <a:latin typeface="+mn-lt"/>
                <a:cs typeface="Tahoma" charset="0"/>
              </a:rPr>
              <a:t>Want to customize the image section? </a:t>
            </a:r>
          </a:p>
          <a:p>
            <a:pPr eaLnBrk="1" fontAlgn="base" hangingPunct="1">
              <a:spcBef>
                <a:spcPct val="0"/>
              </a:spcBef>
              <a:spcAft>
                <a:spcPct val="0"/>
              </a:spcAft>
            </a:pPr>
            <a:r>
              <a:rPr lang="en-US" sz="1100">
                <a:latin typeface="+mn-lt"/>
                <a:cs typeface="Tahoma" charset="0"/>
              </a:rPr>
              <a:t>Select the image, right-click and choose </a:t>
            </a:r>
            <a:r>
              <a:rPr lang="en-US" sz="1100" i="1">
                <a:latin typeface="+mn-lt"/>
                <a:cs typeface="Tahoma" charset="0"/>
              </a:rPr>
              <a:t>crop</a:t>
            </a:r>
            <a:r>
              <a:rPr lang="en-US" sz="1100">
                <a:latin typeface="+mn-lt"/>
                <a:cs typeface="Tahoma" charset="0"/>
              </a:rPr>
              <a:t>. Now you can select the image section to be shown. </a:t>
            </a:r>
            <a:endParaRPr lang="en-US" sz="1000">
              <a:latin typeface="+mn-lt"/>
              <a:cs typeface="Tahoma" charset="0"/>
            </a:endParaRPr>
          </a:p>
        </p:txBody>
      </p:sp>
      <p:sp>
        <p:nvSpPr>
          <p:cNvPr id="11" name="Fußzeilenplatzhalter 2" hidden="1">
            <a:extLst>
              <a:ext uri="{FF2B5EF4-FFF2-40B4-BE49-F238E27FC236}">
                <a16:creationId xmlns:a16="http://schemas.microsoft.com/office/drawing/2014/main" id="{C50D9433-F1B7-4519-BD24-9E6B125A9381}"/>
              </a:ext>
            </a:extLst>
          </p:cNvPr>
          <p:cNvSpPr>
            <a:spLocks noGrp="1"/>
          </p:cNvSpPr>
          <p:nvPr>
            <p:ph type="ftr" sz="quarter" idx="14"/>
          </p:nvPr>
        </p:nvSpPr>
        <p:spPr>
          <a:xfrm rot="16200000">
            <a:off x="10021500" y="3555244"/>
            <a:ext cx="3960000" cy="180000"/>
          </a:xfrm>
        </p:spPr>
        <p:txBody>
          <a:bodyPr/>
          <a:lstStyle>
            <a:lvl1pPr>
              <a:defRPr>
                <a:noFill/>
              </a:defRPr>
            </a:lvl1pPr>
          </a:lstStyle>
          <a:p>
            <a:r>
              <a:rPr lang="en-US"/>
              <a:t>Footer of the presentation</a:t>
            </a:r>
          </a:p>
        </p:txBody>
      </p:sp>
      <p:sp>
        <p:nvSpPr>
          <p:cNvPr id="12" name="Foliennummernplatzhalter 4" hidden="1">
            <a:extLst>
              <a:ext uri="{FF2B5EF4-FFF2-40B4-BE49-F238E27FC236}">
                <a16:creationId xmlns:a16="http://schemas.microsoft.com/office/drawing/2014/main" id="{0B60708A-535E-448D-9C3A-27CE9EBB3355}"/>
              </a:ext>
            </a:extLst>
          </p:cNvPr>
          <p:cNvSpPr>
            <a:spLocks noGrp="1"/>
          </p:cNvSpPr>
          <p:nvPr>
            <p:ph type="sldNum" sz="quarter" idx="11"/>
          </p:nvPr>
        </p:nvSpPr>
        <p:spPr>
          <a:xfrm rot="16200000">
            <a:off x="11785500" y="6363360"/>
            <a:ext cx="432000" cy="180000"/>
          </a:xfrm>
        </p:spPr>
        <p:txBody>
          <a:bodyPr/>
          <a:lstStyle>
            <a:lvl1pPr>
              <a:defRPr>
                <a:noFill/>
              </a:defRPr>
            </a:lvl1pPr>
          </a:lstStyle>
          <a:p>
            <a:fld id="{0D1F56E0-B6F6-48D7-9539-F293D99B01ED}" type="slidenum">
              <a:rPr lang="en-US" smtClean="0"/>
              <a:pPr/>
              <a:t>‹#›</a:t>
            </a:fld>
            <a:endParaRPr lang="en-US"/>
          </a:p>
        </p:txBody>
      </p:sp>
    </p:spTree>
    <p:extLst>
      <p:ext uri="{BB962C8B-B14F-4D97-AF65-F5344CB8AC3E}">
        <p14:creationId xmlns:p14="http://schemas.microsoft.com/office/powerpoint/2010/main" val="535787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ro/Outro">
    <p:spTree>
      <p:nvGrpSpPr>
        <p:cNvPr id="1" name=""/>
        <p:cNvGrpSpPr/>
        <p:nvPr/>
      </p:nvGrpSpPr>
      <p:grpSpPr>
        <a:xfrm>
          <a:off x="0" y="0"/>
          <a:ext cx="0" cy="0"/>
          <a:chOff x="0" y="0"/>
          <a:chExt cx="0" cy="0"/>
        </a:xfrm>
      </p:grpSpPr>
      <p:grpSp>
        <p:nvGrpSpPr>
          <p:cNvPr id="12" name="Gruppieren 11">
            <a:extLst>
              <a:ext uri="{FF2B5EF4-FFF2-40B4-BE49-F238E27FC236}">
                <a16:creationId xmlns:a16="http://schemas.microsoft.com/office/drawing/2014/main" id="{6664CB44-4606-449E-BB2A-62A036D05937}"/>
              </a:ext>
            </a:extLst>
          </p:cNvPr>
          <p:cNvGrpSpPr/>
          <p:nvPr userDrawn="1"/>
        </p:nvGrpSpPr>
        <p:grpSpPr>
          <a:xfrm>
            <a:off x="1" y="0"/>
            <a:ext cx="12195175" cy="6858000"/>
            <a:chOff x="1" y="0"/>
            <a:chExt cx="12195175" cy="6858000"/>
          </a:xfrm>
        </p:grpSpPr>
        <p:pic>
          <p:nvPicPr>
            <p:cNvPr id="13" name="Grafik 5">
              <a:extLst>
                <a:ext uri="{FF2B5EF4-FFF2-40B4-BE49-F238E27FC236}">
                  <a16:creationId xmlns:a16="http://schemas.microsoft.com/office/drawing/2014/main" id="{DCAAA295-960E-4542-9A2F-E92CF4390D3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279" b="1279"/>
            <a:stretch/>
          </p:blipFill>
          <p:spPr bwMode="gray">
            <a:xfrm>
              <a:off x="1" y="0"/>
              <a:ext cx="12195174" cy="6858000"/>
            </a:xfrm>
            <a:prstGeom prst="rect">
              <a:avLst/>
            </a:prstGeom>
          </p:spPr>
        </p:pic>
        <p:grpSp>
          <p:nvGrpSpPr>
            <p:cNvPr id="14" name="Grafik 3">
              <a:extLst>
                <a:ext uri="{FF2B5EF4-FFF2-40B4-BE49-F238E27FC236}">
                  <a16:creationId xmlns:a16="http://schemas.microsoft.com/office/drawing/2014/main" id="{3A851F33-0E2E-4CDB-AD47-CF5E7C5BAC7E}"/>
                </a:ext>
              </a:extLst>
            </p:cNvPr>
            <p:cNvGrpSpPr/>
            <p:nvPr userDrawn="1"/>
          </p:nvGrpSpPr>
          <p:grpSpPr bwMode="gray">
            <a:xfrm>
              <a:off x="2661617" y="2490991"/>
              <a:ext cx="6513166" cy="1226041"/>
              <a:chOff x="2657329" y="2818836"/>
              <a:chExt cx="6513166" cy="1226041"/>
            </a:xfrm>
            <a:solidFill>
              <a:schemeClr val="bg1"/>
            </a:solidFill>
          </p:grpSpPr>
          <p:sp>
            <p:nvSpPr>
              <p:cNvPr id="17" name="Freihandform: Form 20">
                <a:extLst>
                  <a:ext uri="{FF2B5EF4-FFF2-40B4-BE49-F238E27FC236}">
                    <a16:creationId xmlns:a16="http://schemas.microsoft.com/office/drawing/2014/main" id="{A189B576-F435-4E60-9A21-56A246B41094}"/>
                  </a:ext>
                </a:extLst>
              </p:cNvPr>
              <p:cNvSpPr/>
              <p:nvPr/>
            </p:nvSpPr>
            <p:spPr bwMode="gray">
              <a:xfrm>
                <a:off x="5340903" y="3153211"/>
                <a:ext cx="175761" cy="290077"/>
              </a:xfrm>
              <a:custGeom>
                <a:avLst/>
                <a:gdLst>
                  <a:gd name="connsiteX0" fmla="*/ 135751 w 175761"/>
                  <a:gd name="connsiteY0" fmla="*/ 290078 h 290077"/>
                  <a:gd name="connsiteX1" fmla="*/ 175761 w 175761"/>
                  <a:gd name="connsiteY1" fmla="*/ 0 h 290077"/>
                  <a:gd name="connsiteX2" fmla="*/ 40011 w 175761"/>
                  <a:gd name="connsiteY2" fmla="*/ 0 h 290077"/>
                  <a:gd name="connsiteX3" fmla="*/ 0 w 175761"/>
                  <a:gd name="connsiteY3" fmla="*/ 290078 h 290077"/>
                </a:gdLst>
                <a:ahLst/>
                <a:cxnLst>
                  <a:cxn ang="0">
                    <a:pos x="connsiteX0" y="connsiteY0"/>
                  </a:cxn>
                  <a:cxn ang="0">
                    <a:pos x="connsiteX1" y="connsiteY1"/>
                  </a:cxn>
                  <a:cxn ang="0">
                    <a:pos x="connsiteX2" y="connsiteY2"/>
                  </a:cxn>
                  <a:cxn ang="0">
                    <a:pos x="connsiteX3" y="connsiteY3"/>
                  </a:cxn>
                </a:cxnLst>
                <a:rect l="l" t="t" r="r" b="b"/>
                <a:pathLst>
                  <a:path w="175761" h="290077">
                    <a:moveTo>
                      <a:pt x="135751" y="290078"/>
                    </a:moveTo>
                    <a:lnTo>
                      <a:pt x="175761" y="0"/>
                    </a:lnTo>
                    <a:lnTo>
                      <a:pt x="40011" y="0"/>
                    </a:lnTo>
                    <a:lnTo>
                      <a:pt x="0" y="290078"/>
                    </a:lnTo>
                    <a:close/>
                  </a:path>
                </a:pathLst>
              </a:custGeom>
              <a:grpFill/>
              <a:ln w="14288" cap="flat">
                <a:noFill/>
                <a:prstDash val="solid"/>
                <a:miter/>
              </a:ln>
            </p:spPr>
            <p:txBody>
              <a:bodyPr rtlCol="0" anchor="ctr"/>
              <a:lstStyle/>
              <a:p>
                <a:endParaRPr lang="en-US"/>
              </a:p>
            </p:txBody>
          </p:sp>
          <p:sp>
            <p:nvSpPr>
              <p:cNvPr id="18" name="Freihandform: Form 21">
                <a:extLst>
                  <a:ext uri="{FF2B5EF4-FFF2-40B4-BE49-F238E27FC236}">
                    <a16:creationId xmlns:a16="http://schemas.microsoft.com/office/drawing/2014/main" id="{DF852D8D-2B29-4014-ACD9-B3D0138DF4C7}"/>
                  </a:ext>
                </a:extLst>
              </p:cNvPr>
              <p:cNvSpPr/>
              <p:nvPr/>
            </p:nvSpPr>
            <p:spPr bwMode="gray">
              <a:xfrm>
                <a:off x="2657329" y="2818836"/>
                <a:ext cx="6513166" cy="1211752"/>
              </a:xfrm>
              <a:custGeom>
                <a:avLst/>
                <a:gdLst>
                  <a:gd name="connsiteX0" fmla="*/ 1237473 w 6513166"/>
                  <a:gd name="connsiteY0" fmla="*/ 190051 h 1211752"/>
                  <a:gd name="connsiteX1" fmla="*/ 6487446 w 6513166"/>
                  <a:gd name="connsiteY1" fmla="*/ 188622 h 1211752"/>
                  <a:gd name="connsiteX2" fmla="*/ 6513167 w 6513166"/>
                  <a:gd name="connsiteY2" fmla="*/ 0 h 1211752"/>
                  <a:gd name="connsiteX3" fmla="*/ 687326 w 6513166"/>
                  <a:gd name="connsiteY3" fmla="*/ 0 h 1211752"/>
                  <a:gd name="connsiteX4" fmla="*/ 0 w 6513166"/>
                  <a:gd name="connsiteY4" fmla="*/ 605876 h 1211752"/>
                  <a:gd name="connsiteX5" fmla="*/ 687326 w 6513166"/>
                  <a:gd name="connsiteY5" fmla="*/ 1211753 h 1211752"/>
                  <a:gd name="connsiteX6" fmla="*/ 1063141 w 6513166"/>
                  <a:gd name="connsiteY6" fmla="*/ 1211753 h 1211752"/>
                  <a:gd name="connsiteX7" fmla="*/ 1083146 w 6513166"/>
                  <a:gd name="connsiteY7" fmla="*/ 1065999 h 1211752"/>
                  <a:gd name="connsiteX8" fmla="*/ 741626 w 6513166"/>
                  <a:gd name="connsiteY8" fmla="*/ 577297 h 1211752"/>
                  <a:gd name="connsiteX9" fmla="*/ 1237473 w 6513166"/>
                  <a:gd name="connsiteY9" fmla="*/ 190051 h 1211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3166" h="1211752">
                    <a:moveTo>
                      <a:pt x="1237473" y="190051"/>
                    </a:moveTo>
                    <a:lnTo>
                      <a:pt x="6487446" y="188622"/>
                    </a:lnTo>
                    <a:lnTo>
                      <a:pt x="6513167" y="0"/>
                    </a:lnTo>
                    <a:lnTo>
                      <a:pt x="687326" y="0"/>
                    </a:lnTo>
                    <a:cubicBezTo>
                      <a:pt x="295793" y="0"/>
                      <a:pt x="0" y="271501"/>
                      <a:pt x="0" y="605876"/>
                    </a:cubicBezTo>
                    <a:cubicBezTo>
                      <a:pt x="0" y="940251"/>
                      <a:pt x="295793" y="1211753"/>
                      <a:pt x="687326" y="1211753"/>
                    </a:cubicBezTo>
                    <a:lnTo>
                      <a:pt x="1063141" y="1211753"/>
                    </a:lnTo>
                    <a:lnTo>
                      <a:pt x="1083146" y="1065999"/>
                    </a:lnTo>
                    <a:cubicBezTo>
                      <a:pt x="868803" y="1035991"/>
                      <a:pt x="708761" y="808787"/>
                      <a:pt x="741626" y="577297"/>
                    </a:cubicBezTo>
                    <a:cubicBezTo>
                      <a:pt x="773063" y="357238"/>
                      <a:pt x="974546" y="190051"/>
                      <a:pt x="1237473" y="190051"/>
                    </a:cubicBezTo>
                    <a:close/>
                  </a:path>
                </a:pathLst>
              </a:custGeom>
              <a:grpFill/>
              <a:ln w="14288" cap="flat">
                <a:noFill/>
                <a:prstDash val="solid"/>
                <a:miter/>
              </a:ln>
            </p:spPr>
            <p:txBody>
              <a:bodyPr rtlCol="0" anchor="ctr"/>
              <a:lstStyle/>
              <a:p>
                <a:endParaRPr lang="en-US"/>
              </a:p>
            </p:txBody>
          </p:sp>
          <p:sp>
            <p:nvSpPr>
              <p:cNvPr id="19" name="Freihandform: Form 22">
                <a:extLst>
                  <a:ext uri="{FF2B5EF4-FFF2-40B4-BE49-F238E27FC236}">
                    <a16:creationId xmlns:a16="http://schemas.microsoft.com/office/drawing/2014/main" id="{E991EBE8-828D-43C7-A9CA-3B1056033544}"/>
                  </a:ext>
                </a:extLst>
              </p:cNvPr>
              <p:cNvSpPr/>
              <p:nvPr/>
            </p:nvSpPr>
            <p:spPr bwMode="gray">
              <a:xfrm>
                <a:off x="8350277" y="3153211"/>
                <a:ext cx="798428" cy="877377"/>
              </a:xfrm>
              <a:custGeom>
                <a:avLst/>
                <a:gdLst>
                  <a:gd name="connsiteX0" fmla="*/ 517281 w 798428"/>
                  <a:gd name="connsiteY0" fmla="*/ 0 h 877377"/>
                  <a:gd name="connsiteX1" fmla="*/ 122890 w 798428"/>
                  <a:gd name="connsiteY1" fmla="*/ 0 h 877377"/>
                  <a:gd name="connsiteX2" fmla="*/ 0 w 798428"/>
                  <a:gd name="connsiteY2" fmla="*/ 877377 h 877377"/>
                  <a:gd name="connsiteX3" fmla="*/ 227203 w 798428"/>
                  <a:gd name="connsiteY3" fmla="*/ 877377 h 877377"/>
                  <a:gd name="connsiteX4" fmla="*/ 267214 w 798428"/>
                  <a:gd name="connsiteY4" fmla="*/ 587300 h 877377"/>
                  <a:gd name="connsiteX5" fmla="*/ 347235 w 798428"/>
                  <a:gd name="connsiteY5" fmla="*/ 587300 h 877377"/>
                  <a:gd name="connsiteX6" fmla="*/ 490131 w 798428"/>
                  <a:gd name="connsiteY6" fmla="*/ 877377 h 877377"/>
                  <a:gd name="connsiteX7" fmla="*/ 744484 w 798428"/>
                  <a:gd name="connsiteY7" fmla="*/ 877377 h 877377"/>
                  <a:gd name="connsiteX8" fmla="*/ 583013 w 798428"/>
                  <a:gd name="connsiteY8" fmla="*/ 563008 h 877377"/>
                  <a:gd name="connsiteX9" fmla="*/ 794497 w 798428"/>
                  <a:gd name="connsiteY9" fmla="*/ 298651 h 877377"/>
                  <a:gd name="connsiteX10" fmla="*/ 517281 w 798428"/>
                  <a:gd name="connsiteY10" fmla="*/ 0 h 877377"/>
                  <a:gd name="connsiteX11" fmla="*/ 570152 w 798428"/>
                  <a:gd name="connsiteY11" fmla="*/ 298651 h 877377"/>
                  <a:gd name="connsiteX12" fmla="*/ 435831 w 798428"/>
                  <a:gd name="connsiteY12" fmla="*/ 404394 h 877377"/>
                  <a:gd name="connsiteX13" fmla="*/ 292935 w 798428"/>
                  <a:gd name="connsiteY13" fmla="*/ 404394 h 877377"/>
                  <a:gd name="connsiteX14" fmla="*/ 322943 w 798428"/>
                  <a:gd name="connsiteY14" fmla="*/ 192909 h 877377"/>
                  <a:gd name="connsiteX15" fmla="*/ 465838 w 798428"/>
                  <a:gd name="connsiteY15" fmla="*/ 192909 h 877377"/>
                  <a:gd name="connsiteX16" fmla="*/ 570152 w 798428"/>
                  <a:gd name="connsiteY16" fmla="*/ 298651 h 87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8428" h="877377">
                    <a:moveTo>
                      <a:pt x="517281" y="0"/>
                    </a:moveTo>
                    <a:lnTo>
                      <a:pt x="122890" y="0"/>
                    </a:lnTo>
                    <a:lnTo>
                      <a:pt x="0" y="877377"/>
                    </a:lnTo>
                    <a:lnTo>
                      <a:pt x="227203" y="877377"/>
                    </a:lnTo>
                    <a:lnTo>
                      <a:pt x="267214" y="587300"/>
                    </a:lnTo>
                    <a:lnTo>
                      <a:pt x="347235" y="587300"/>
                    </a:lnTo>
                    <a:lnTo>
                      <a:pt x="490131" y="877377"/>
                    </a:lnTo>
                    <a:lnTo>
                      <a:pt x="744484" y="877377"/>
                    </a:lnTo>
                    <a:lnTo>
                      <a:pt x="583013" y="563008"/>
                    </a:lnTo>
                    <a:cubicBezTo>
                      <a:pt x="695900" y="522997"/>
                      <a:pt x="775921" y="431544"/>
                      <a:pt x="794497" y="298651"/>
                    </a:cubicBezTo>
                    <a:cubicBezTo>
                      <a:pt x="821648" y="107172"/>
                      <a:pt x="705902" y="0"/>
                      <a:pt x="517281" y="0"/>
                    </a:cubicBezTo>
                    <a:close/>
                    <a:moveTo>
                      <a:pt x="570152" y="298651"/>
                    </a:moveTo>
                    <a:cubicBezTo>
                      <a:pt x="560150" y="362954"/>
                      <a:pt x="517281" y="404394"/>
                      <a:pt x="435831" y="404394"/>
                    </a:cubicBezTo>
                    <a:lnTo>
                      <a:pt x="292935" y="404394"/>
                    </a:lnTo>
                    <a:lnTo>
                      <a:pt x="322943" y="192909"/>
                    </a:lnTo>
                    <a:lnTo>
                      <a:pt x="465838" y="192909"/>
                    </a:lnTo>
                    <a:cubicBezTo>
                      <a:pt x="547289" y="192909"/>
                      <a:pt x="578726" y="234348"/>
                      <a:pt x="570152" y="298651"/>
                    </a:cubicBezTo>
                    <a:close/>
                  </a:path>
                </a:pathLst>
              </a:custGeom>
              <a:grpFill/>
              <a:ln w="14288" cap="flat">
                <a:noFill/>
                <a:prstDash val="solid"/>
                <a:miter/>
              </a:ln>
            </p:spPr>
            <p:txBody>
              <a:bodyPr rtlCol="0" anchor="ctr"/>
              <a:lstStyle/>
              <a:p>
                <a:endParaRPr lang="en-US"/>
              </a:p>
            </p:txBody>
          </p:sp>
          <p:sp>
            <p:nvSpPr>
              <p:cNvPr id="20" name="Freihandform: Form 23">
                <a:extLst>
                  <a:ext uri="{FF2B5EF4-FFF2-40B4-BE49-F238E27FC236}">
                    <a16:creationId xmlns:a16="http://schemas.microsoft.com/office/drawing/2014/main" id="{AA016300-AF2A-4E6D-9601-37DF27D074A4}"/>
                  </a:ext>
                </a:extLst>
              </p:cNvPr>
              <p:cNvSpPr/>
              <p:nvPr/>
            </p:nvSpPr>
            <p:spPr bwMode="gray">
              <a:xfrm>
                <a:off x="6844161" y="3153211"/>
                <a:ext cx="615878" cy="877377"/>
              </a:xfrm>
              <a:custGeom>
                <a:avLst/>
                <a:gdLst>
                  <a:gd name="connsiteX0" fmla="*/ 352952 w 615878"/>
                  <a:gd name="connsiteY0" fmla="*/ 0 h 877377"/>
                  <a:gd name="connsiteX1" fmla="*/ 122890 w 615878"/>
                  <a:gd name="connsiteY1" fmla="*/ 0 h 877377"/>
                  <a:gd name="connsiteX2" fmla="*/ 0 w 615878"/>
                  <a:gd name="connsiteY2" fmla="*/ 877377 h 877377"/>
                  <a:gd name="connsiteX3" fmla="*/ 588729 w 615878"/>
                  <a:gd name="connsiteY3" fmla="*/ 877377 h 877377"/>
                  <a:gd name="connsiteX4" fmla="*/ 615879 w 615878"/>
                  <a:gd name="connsiteY4" fmla="*/ 678753 h 877377"/>
                  <a:gd name="connsiteX5" fmla="*/ 257212 w 615878"/>
                  <a:gd name="connsiteY5" fmla="*/ 678753 h 87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878" h="877377">
                    <a:moveTo>
                      <a:pt x="352952" y="0"/>
                    </a:moveTo>
                    <a:lnTo>
                      <a:pt x="122890" y="0"/>
                    </a:lnTo>
                    <a:lnTo>
                      <a:pt x="0" y="877377"/>
                    </a:lnTo>
                    <a:lnTo>
                      <a:pt x="588729" y="877377"/>
                    </a:lnTo>
                    <a:lnTo>
                      <a:pt x="615879" y="678753"/>
                    </a:lnTo>
                    <a:lnTo>
                      <a:pt x="257212" y="678753"/>
                    </a:lnTo>
                    <a:close/>
                  </a:path>
                </a:pathLst>
              </a:custGeom>
              <a:grpFill/>
              <a:ln w="14288" cap="flat">
                <a:noFill/>
                <a:prstDash val="solid"/>
                <a:miter/>
              </a:ln>
            </p:spPr>
            <p:txBody>
              <a:bodyPr rtlCol="0" anchor="ctr"/>
              <a:lstStyle/>
              <a:p>
                <a:endParaRPr lang="en-US"/>
              </a:p>
            </p:txBody>
          </p:sp>
          <p:sp>
            <p:nvSpPr>
              <p:cNvPr id="21" name="Freihandform: Form 24">
                <a:extLst>
                  <a:ext uri="{FF2B5EF4-FFF2-40B4-BE49-F238E27FC236}">
                    <a16:creationId xmlns:a16="http://schemas.microsoft.com/office/drawing/2014/main" id="{985F3A82-9A10-4499-8DDD-0FC6B5D83A14}"/>
                  </a:ext>
                </a:extLst>
              </p:cNvPr>
              <p:cNvSpPr/>
              <p:nvPr/>
            </p:nvSpPr>
            <p:spPr bwMode="gray">
              <a:xfrm>
                <a:off x="7537203" y="3153211"/>
                <a:ext cx="750200" cy="877377"/>
              </a:xfrm>
              <a:custGeom>
                <a:avLst/>
                <a:gdLst>
                  <a:gd name="connsiteX0" fmla="*/ 0 w 750200"/>
                  <a:gd name="connsiteY0" fmla="*/ 877377 h 877377"/>
                  <a:gd name="connsiteX1" fmla="*/ 627311 w 750200"/>
                  <a:gd name="connsiteY1" fmla="*/ 877377 h 877377"/>
                  <a:gd name="connsiteX2" fmla="*/ 654461 w 750200"/>
                  <a:gd name="connsiteY2" fmla="*/ 678753 h 877377"/>
                  <a:gd name="connsiteX3" fmla="*/ 252925 w 750200"/>
                  <a:gd name="connsiteY3" fmla="*/ 678753 h 877377"/>
                  <a:gd name="connsiteX4" fmla="*/ 274359 w 750200"/>
                  <a:gd name="connsiteY4" fmla="*/ 527284 h 877377"/>
                  <a:gd name="connsiteX5" fmla="*/ 641600 w 750200"/>
                  <a:gd name="connsiteY5" fmla="*/ 527284 h 877377"/>
                  <a:gd name="connsiteX6" fmla="*/ 668750 w 750200"/>
                  <a:gd name="connsiteY6" fmla="*/ 334375 h 877377"/>
                  <a:gd name="connsiteX7" fmla="*/ 301509 w 750200"/>
                  <a:gd name="connsiteY7" fmla="*/ 334375 h 877377"/>
                  <a:gd name="connsiteX8" fmla="*/ 321514 w 750200"/>
                  <a:gd name="connsiteY8" fmla="*/ 197196 h 877377"/>
                  <a:gd name="connsiteX9" fmla="*/ 723050 w 750200"/>
                  <a:gd name="connsiteY9" fmla="*/ 197196 h 877377"/>
                  <a:gd name="connsiteX10" fmla="*/ 750200 w 750200"/>
                  <a:gd name="connsiteY10" fmla="*/ 0 h 877377"/>
                  <a:gd name="connsiteX11" fmla="*/ 122890 w 750200"/>
                  <a:gd name="connsiteY11" fmla="*/ 0 h 87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0200" h="877377">
                    <a:moveTo>
                      <a:pt x="0" y="877377"/>
                    </a:moveTo>
                    <a:lnTo>
                      <a:pt x="627311" y="877377"/>
                    </a:lnTo>
                    <a:lnTo>
                      <a:pt x="654461" y="678753"/>
                    </a:lnTo>
                    <a:lnTo>
                      <a:pt x="252925" y="678753"/>
                    </a:lnTo>
                    <a:lnTo>
                      <a:pt x="274359" y="527284"/>
                    </a:lnTo>
                    <a:lnTo>
                      <a:pt x="641600" y="527284"/>
                    </a:lnTo>
                    <a:lnTo>
                      <a:pt x="668750" y="334375"/>
                    </a:lnTo>
                    <a:lnTo>
                      <a:pt x="301509" y="334375"/>
                    </a:lnTo>
                    <a:lnTo>
                      <a:pt x="321514" y="197196"/>
                    </a:lnTo>
                    <a:lnTo>
                      <a:pt x="723050" y="197196"/>
                    </a:lnTo>
                    <a:lnTo>
                      <a:pt x="750200" y="0"/>
                    </a:lnTo>
                    <a:lnTo>
                      <a:pt x="122890" y="0"/>
                    </a:lnTo>
                    <a:close/>
                  </a:path>
                </a:pathLst>
              </a:custGeom>
              <a:grpFill/>
              <a:ln w="14288" cap="flat">
                <a:noFill/>
                <a:prstDash val="solid"/>
                <a:miter/>
              </a:ln>
            </p:spPr>
            <p:txBody>
              <a:bodyPr rtlCol="0" anchor="ctr"/>
              <a:lstStyle/>
              <a:p>
                <a:endParaRPr lang="en-US"/>
              </a:p>
            </p:txBody>
          </p:sp>
          <p:sp>
            <p:nvSpPr>
              <p:cNvPr id="22" name="Freihandform: Form 25">
                <a:extLst>
                  <a:ext uri="{FF2B5EF4-FFF2-40B4-BE49-F238E27FC236}">
                    <a16:creationId xmlns:a16="http://schemas.microsoft.com/office/drawing/2014/main" id="{AB2EDBBB-8989-4D08-A157-AF8981D00C75}"/>
                  </a:ext>
                </a:extLst>
              </p:cNvPr>
              <p:cNvSpPr/>
              <p:nvPr/>
            </p:nvSpPr>
            <p:spPr bwMode="gray">
              <a:xfrm>
                <a:off x="4091998" y="3153211"/>
                <a:ext cx="761670" cy="877377"/>
              </a:xfrm>
              <a:custGeom>
                <a:avLst/>
                <a:gdLst>
                  <a:gd name="connsiteX0" fmla="*/ 498705 w 761670"/>
                  <a:gd name="connsiteY0" fmla="*/ 0 h 877377"/>
                  <a:gd name="connsiteX1" fmla="*/ 122890 w 761670"/>
                  <a:gd name="connsiteY1" fmla="*/ 0 h 877377"/>
                  <a:gd name="connsiteX2" fmla="*/ 0 w 761670"/>
                  <a:gd name="connsiteY2" fmla="*/ 877377 h 877377"/>
                  <a:gd name="connsiteX3" fmla="*/ 402965 w 761670"/>
                  <a:gd name="connsiteY3" fmla="*/ 877377 h 877377"/>
                  <a:gd name="connsiteX4" fmla="*/ 728766 w 761670"/>
                  <a:gd name="connsiteY4" fmla="*/ 631597 h 877377"/>
                  <a:gd name="connsiteX5" fmla="*/ 614450 w 761670"/>
                  <a:gd name="connsiteY5" fmla="*/ 424399 h 877377"/>
                  <a:gd name="connsiteX6" fmla="*/ 758774 w 761670"/>
                  <a:gd name="connsiteY6" fmla="*/ 238635 h 877377"/>
                  <a:gd name="connsiteX7" fmla="*/ 498705 w 761670"/>
                  <a:gd name="connsiteY7" fmla="*/ 0 h 877377"/>
                  <a:gd name="connsiteX8" fmla="*/ 511565 w 761670"/>
                  <a:gd name="connsiteY8" fmla="*/ 604447 h 877377"/>
                  <a:gd name="connsiteX9" fmla="*/ 398678 w 761670"/>
                  <a:gd name="connsiteY9" fmla="*/ 688755 h 877377"/>
                  <a:gd name="connsiteX10" fmla="*/ 244351 w 761670"/>
                  <a:gd name="connsiteY10" fmla="*/ 688755 h 877377"/>
                  <a:gd name="connsiteX11" fmla="*/ 268643 w 761670"/>
                  <a:gd name="connsiteY11" fmla="*/ 518710 h 877377"/>
                  <a:gd name="connsiteX12" fmla="*/ 422970 w 761670"/>
                  <a:gd name="connsiteY12" fmla="*/ 518710 h 877377"/>
                  <a:gd name="connsiteX13" fmla="*/ 511565 w 761670"/>
                  <a:gd name="connsiteY13" fmla="*/ 604447 h 877377"/>
                  <a:gd name="connsiteX14" fmla="*/ 538715 w 761670"/>
                  <a:gd name="connsiteY14" fmla="*/ 267214 h 877377"/>
                  <a:gd name="connsiteX15" fmla="*/ 424399 w 761670"/>
                  <a:gd name="connsiteY15" fmla="*/ 347236 h 877377"/>
                  <a:gd name="connsiteX16" fmla="*/ 292935 w 761670"/>
                  <a:gd name="connsiteY16" fmla="*/ 347236 h 877377"/>
                  <a:gd name="connsiteX17" fmla="*/ 315799 w 761670"/>
                  <a:gd name="connsiteY17" fmla="*/ 188622 h 877377"/>
                  <a:gd name="connsiteX18" fmla="*/ 447262 w 761670"/>
                  <a:gd name="connsiteY18" fmla="*/ 188622 h 877377"/>
                  <a:gd name="connsiteX19" fmla="*/ 538715 w 761670"/>
                  <a:gd name="connsiteY19" fmla="*/ 267214 h 87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61670" h="877377">
                    <a:moveTo>
                      <a:pt x="498705" y="0"/>
                    </a:moveTo>
                    <a:lnTo>
                      <a:pt x="122890" y="0"/>
                    </a:lnTo>
                    <a:lnTo>
                      <a:pt x="0" y="877377"/>
                    </a:lnTo>
                    <a:lnTo>
                      <a:pt x="402965" y="877377"/>
                    </a:lnTo>
                    <a:cubicBezTo>
                      <a:pt x="585871" y="877377"/>
                      <a:pt x="705903" y="790211"/>
                      <a:pt x="728766" y="631597"/>
                    </a:cubicBezTo>
                    <a:cubicBezTo>
                      <a:pt x="743056" y="533000"/>
                      <a:pt x="694471" y="451549"/>
                      <a:pt x="614450" y="424399"/>
                    </a:cubicBezTo>
                    <a:cubicBezTo>
                      <a:pt x="683040" y="401536"/>
                      <a:pt x="744485" y="332946"/>
                      <a:pt x="758774" y="238635"/>
                    </a:cubicBezTo>
                    <a:cubicBezTo>
                      <a:pt x="780208" y="81450"/>
                      <a:pt x="681611" y="0"/>
                      <a:pt x="498705" y="0"/>
                    </a:cubicBezTo>
                    <a:close/>
                    <a:moveTo>
                      <a:pt x="511565" y="604447"/>
                    </a:moveTo>
                    <a:cubicBezTo>
                      <a:pt x="504420" y="654461"/>
                      <a:pt x="462981" y="688755"/>
                      <a:pt x="398678" y="688755"/>
                    </a:cubicBezTo>
                    <a:lnTo>
                      <a:pt x="244351" y="688755"/>
                    </a:lnTo>
                    <a:lnTo>
                      <a:pt x="268643" y="518710"/>
                    </a:lnTo>
                    <a:lnTo>
                      <a:pt x="422970" y="518710"/>
                    </a:lnTo>
                    <a:cubicBezTo>
                      <a:pt x="487273" y="518710"/>
                      <a:pt x="518710" y="551576"/>
                      <a:pt x="511565" y="604447"/>
                    </a:cubicBezTo>
                    <a:close/>
                    <a:moveTo>
                      <a:pt x="538715" y="267214"/>
                    </a:moveTo>
                    <a:cubicBezTo>
                      <a:pt x="531570" y="321515"/>
                      <a:pt x="491560" y="347236"/>
                      <a:pt x="424399" y="347236"/>
                    </a:cubicBezTo>
                    <a:lnTo>
                      <a:pt x="292935" y="347236"/>
                    </a:lnTo>
                    <a:lnTo>
                      <a:pt x="315799" y="188622"/>
                    </a:lnTo>
                    <a:lnTo>
                      <a:pt x="447262" y="188622"/>
                    </a:lnTo>
                    <a:cubicBezTo>
                      <a:pt x="514423" y="188622"/>
                      <a:pt x="545860" y="212914"/>
                      <a:pt x="538715" y="267214"/>
                    </a:cubicBezTo>
                    <a:close/>
                  </a:path>
                </a:pathLst>
              </a:custGeom>
              <a:grpFill/>
              <a:ln w="14288" cap="flat">
                <a:noFill/>
                <a:prstDash val="solid"/>
                <a:miter/>
              </a:ln>
            </p:spPr>
            <p:txBody>
              <a:bodyPr rtlCol="0" anchor="ctr"/>
              <a:lstStyle/>
              <a:p>
                <a:endParaRPr lang="en-US"/>
              </a:p>
            </p:txBody>
          </p:sp>
          <p:sp>
            <p:nvSpPr>
              <p:cNvPr id="23" name="Freihandform: Form 26">
                <a:extLst>
                  <a:ext uri="{FF2B5EF4-FFF2-40B4-BE49-F238E27FC236}">
                    <a16:creationId xmlns:a16="http://schemas.microsoft.com/office/drawing/2014/main" id="{90946537-5BD7-4C0D-9949-CA43B4C0BD6B}"/>
                  </a:ext>
                </a:extLst>
              </p:cNvPr>
              <p:cNvSpPr/>
              <p:nvPr/>
            </p:nvSpPr>
            <p:spPr bwMode="gray">
              <a:xfrm>
                <a:off x="5893907" y="3153211"/>
                <a:ext cx="887379" cy="877377"/>
              </a:xfrm>
              <a:custGeom>
                <a:avLst/>
                <a:gdLst>
                  <a:gd name="connsiteX0" fmla="*/ 610163 w 887379"/>
                  <a:gd name="connsiteY0" fmla="*/ 332946 h 877377"/>
                  <a:gd name="connsiteX1" fmla="*/ 305796 w 887379"/>
                  <a:gd name="connsiteY1" fmla="*/ 332946 h 877377"/>
                  <a:gd name="connsiteX2" fmla="*/ 352952 w 887379"/>
                  <a:gd name="connsiteY2" fmla="*/ 0 h 877377"/>
                  <a:gd name="connsiteX3" fmla="*/ 122890 w 887379"/>
                  <a:gd name="connsiteY3" fmla="*/ 0 h 877377"/>
                  <a:gd name="connsiteX4" fmla="*/ 0 w 887379"/>
                  <a:gd name="connsiteY4" fmla="*/ 877377 h 877377"/>
                  <a:gd name="connsiteX5" fmla="*/ 230062 w 887379"/>
                  <a:gd name="connsiteY5" fmla="*/ 877377 h 877377"/>
                  <a:gd name="connsiteX6" fmla="*/ 278646 w 887379"/>
                  <a:gd name="connsiteY6" fmla="*/ 530142 h 877377"/>
                  <a:gd name="connsiteX7" fmla="*/ 583013 w 887379"/>
                  <a:gd name="connsiteY7" fmla="*/ 530142 h 877377"/>
                  <a:gd name="connsiteX8" fmla="*/ 534429 w 887379"/>
                  <a:gd name="connsiteY8" fmla="*/ 877377 h 877377"/>
                  <a:gd name="connsiteX9" fmla="*/ 764490 w 887379"/>
                  <a:gd name="connsiteY9" fmla="*/ 877377 h 877377"/>
                  <a:gd name="connsiteX10" fmla="*/ 887380 w 887379"/>
                  <a:gd name="connsiteY10" fmla="*/ 0 h 877377"/>
                  <a:gd name="connsiteX11" fmla="*/ 657318 w 887379"/>
                  <a:gd name="connsiteY11" fmla="*/ 0 h 87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7379" h="877377">
                    <a:moveTo>
                      <a:pt x="610163" y="332946"/>
                    </a:moveTo>
                    <a:lnTo>
                      <a:pt x="305796" y="332946"/>
                    </a:lnTo>
                    <a:lnTo>
                      <a:pt x="352952" y="0"/>
                    </a:lnTo>
                    <a:lnTo>
                      <a:pt x="122890" y="0"/>
                    </a:lnTo>
                    <a:lnTo>
                      <a:pt x="0" y="877377"/>
                    </a:lnTo>
                    <a:lnTo>
                      <a:pt x="230062" y="877377"/>
                    </a:lnTo>
                    <a:lnTo>
                      <a:pt x="278646" y="530142"/>
                    </a:lnTo>
                    <a:lnTo>
                      <a:pt x="583013" y="530142"/>
                    </a:lnTo>
                    <a:lnTo>
                      <a:pt x="534429" y="877377"/>
                    </a:lnTo>
                    <a:lnTo>
                      <a:pt x="764490" y="877377"/>
                    </a:lnTo>
                    <a:lnTo>
                      <a:pt x="887380" y="0"/>
                    </a:lnTo>
                    <a:lnTo>
                      <a:pt x="657318" y="0"/>
                    </a:lnTo>
                    <a:close/>
                  </a:path>
                </a:pathLst>
              </a:custGeom>
              <a:grpFill/>
              <a:ln w="14288" cap="flat">
                <a:noFill/>
                <a:prstDash val="solid"/>
                <a:miter/>
              </a:ln>
            </p:spPr>
            <p:txBody>
              <a:bodyPr rtlCol="0" anchor="ctr"/>
              <a:lstStyle/>
              <a:p>
                <a:endParaRPr lang="en-US"/>
              </a:p>
            </p:txBody>
          </p:sp>
          <p:sp>
            <p:nvSpPr>
              <p:cNvPr id="24" name="Freihandform: Form 39">
                <a:extLst>
                  <a:ext uri="{FF2B5EF4-FFF2-40B4-BE49-F238E27FC236}">
                    <a16:creationId xmlns:a16="http://schemas.microsoft.com/office/drawing/2014/main" id="{11F71E12-AE0D-4940-80D7-E8C591EFC8D7}"/>
                  </a:ext>
                </a:extLst>
              </p:cNvPr>
              <p:cNvSpPr/>
              <p:nvPr/>
            </p:nvSpPr>
            <p:spPr bwMode="gray">
              <a:xfrm>
                <a:off x="4988314" y="3153211"/>
                <a:ext cx="842718" cy="891666"/>
              </a:xfrm>
              <a:custGeom>
                <a:avLst/>
                <a:gdLst>
                  <a:gd name="connsiteX0" fmla="*/ 544068 w 842718"/>
                  <a:gd name="connsiteY0" fmla="*/ 498705 h 891666"/>
                  <a:gd name="connsiteX1" fmla="*/ 365449 w 842718"/>
                  <a:gd name="connsiteY1" fmla="*/ 687327 h 891666"/>
                  <a:gd name="connsiteX2" fmla="*/ 236843 w 842718"/>
                  <a:gd name="connsiteY2" fmla="*/ 498705 h 891666"/>
                  <a:gd name="connsiteX3" fmla="*/ 306862 w 842718"/>
                  <a:gd name="connsiteY3" fmla="*/ 0 h 891666"/>
                  <a:gd name="connsiteX4" fmla="*/ 78229 w 842718"/>
                  <a:gd name="connsiteY4" fmla="*/ 0 h 891666"/>
                  <a:gd name="connsiteX5" fmla="*/ 5353 w 842718"/>
                  <a:gd name="connsiteY5" fmla="*/ 518710 h 891666"/>
                  <a:gd name="connsiteX6" fmla="*/ 335441 w 842718"/>
                  <a:gd name="connsiteY6" fmla="*/ 891667 h 891666"/>
                  <a:gd name="connsiteX7" fmla="*/ 769842 w 842718"/>
                  <a:gd name="connsiteY7" fmla="*/ 520139 h 891666"/>
                  <a:gd name="connsiteX8" fmla="*/ 842719 w 842718"/>
                  <a:gd name="connsiteY8" fmla="*/ 0 h 891666"/>
                  <a:gd name="connsiteX9" fmla="*/ 614086 w 842718"/>
                  <a:gd name="connsiteY9" fmla="*/ 0 h 891666"/>
                  <a:gd name="connsiteX10" fmla="*/ 544068 w 842718"/>
                  <a:gd name="connsiteY10" fmla="*/ 498705 h 891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2718" h="891666">
                    <a:moveTo>
                      <a:pt x="544068" y="498705"/>
                    </a:moveTo>
                    <a:cubicBezTo>
                      <a:pt x="526920" y="623024"/>
                      <a:pt x="459760" y="687327"/>
                      <a:pt x="365449" y="687327"/>
                    </a:cubicBezTo>
                    <a:cubicBezTo>
                      <a:pt x="269709" y="687327"/>
                      <a:pt x="219695" y="623024"/>
                      <a:pt x="236843" y="498705"/>
                    </a:cubicBezTo>
                    <a:lnTo>
                      <a:pt x="306862" y="0"/>
                    </a:lnTo>
                    <a:lnTo>
                      <a:pt x="78229" y="0"/>
                    </a:lnTo>
                    <a:lnTo>
                      <a:pt x="5353" y="518710"/>
                    </a:lnTo>
                    <a:cubicBezTo>
                      <a:pt x="-28942" y="760203"/>
                      <a:pt x="103950" y="891667"/>
                      <a:pt x="335441" y="891667"/>
                    </a:cubicBezTo>
                    <a:cubicBezTo>
                      <a:pt x="566931" y="891667"/>
                      <a:pt x="735547" y="760203"/>
                      <a:pt x="769842" y="520139"/>
                    </a:cubicBezTo>
                    <a:lnTo>
                      <a:pt x="842719" y="0"/>
                    </a:lnTo>
                    <a:lnTo>
                      <a:pt x="614086" y="0"/>
                    </a:lnTo>
                    <a:lnTo>
                      <a:pt x="544068" y="498705"/>
                    </a:lnTo>
                    <a:close/>
                  </a:path>
                </a:pathLst>
              </a:custGeom>
              <a:grpFill/>
              <a:ln w="14288" cap="flat">
                <a:noFill/>
                <a:prstDash val="solid"/>
                <a:miter/>
              </a:ln>
            </p:spPr>
            <p:txBody>
              <a:bodyPr rtlCol="0" anchor="ctr"/>
              <a:lstStyle/>
              <a:p>
                <a:endParaRPr lang="en-US"/>
              </a:p>
            </p:txBody>
          </p:sp>
        </p:grpSp>
        <p:sp>
          <p:nvSpPr>
            <p:cNvPr id="15" name="Textfeld 40">
              <a:extLst>
                <a:ext uri="{FF2B5EF4-FFF2-40B4-BE49-F238E27FC236}">
                  <a16:creationId xmlns:a16="http://schemas.microsoft.com/office/drawing/2014/main" id="{BE0F1AAE-6A12-4CA4-AF3F-32F73AF507D5}"/>
                </a:ext>
              </a:extLst>
            </p:cNvPr>
            <p:cNvSpPr txBox="1"/>
            <p:nvPr userDrawn="1"/>
          </p:nvSpPr>
          <p:spPr bwMode="gray">
            <a:xfrm>
              <a:off x="2733452" y="4305546"/>
              <a:ext cx="6640499" cy="338554"/>
            </a:xfrm>
            <a:prstGeom prst="rect">
              <a:avLst/>
            </a:prstGeom>
            <a:noFill/>
          </p:spPr>
          <p:txBody>
            <a:bodyPr wrap="square" lIns="0" tIns="0" rIns="0" bIns="0" rtlCol="0" anchor="t">
              <a:spAutoFit/>
            </a:bodyPr>
            <a:lstStyle/>
            <a:p>
              <a:r>
                <a:rPr lang="en-US" sz="2200" kern="3100" spc="450">
                  <a:solidFill>
                    <a:schemeClr val="bg1"/>
                  </a:solidFill>
                  <a:latin typeface="Arial Nova Light"/>
                  <a:cs typeface="Arial"/>
                </a:rPr>
                <a:t>INNOVATIONS FOR A BETTER WORLD</a:t>
              </a:r>
            </a:p>
          </p:txBody>
        </p:sp>
        <p:pic>
          <p:nvPicPr>
            <p:cNvPr id="16" name="Grafik 15">
              <a:extLst>
                <a:ext uri="{FF2B5EF4-FFF2-40B4-BE49-F238E27FC236}">
                  <a16:creationId xmlns:a16="http://schemas.microsoft.com/office/drawing/2014/main" id="{E9B49549-BD5B-42FB-BF49-BE8C8E48771E}"/>
                </a:ext>
              </a:extLst>
            </p:cNvPr>
            <p:cNvPicPr>
              <a:picLocks noChangeAspect="1"/>
            </p:cNvPicPr>
            <p:nvPr userDrawn="1"/>
          </p:nvPicPr>
          <p:blipFill rotWithShape="1">
            <a:blip r:embed="rId3"/>
            <a:srcRect t="7832" r="46035"/>
            <a:stretch/>
          </p:blipFill>
          <p:spPr>
            <a:xfrm>
              <a:off x="9049916" y="0"/>
              <a:ext cx="3145260" cy="5725830"/>
            </a:xfrm>
            <a:prstGeom prst="rect">
              <a:avLst/>
            </a:prstGeom>
          </p:spPr>
        </p:pic>
      </p:grpSp>
      <p:sp>
        <p:nvSpPr>
          <p:cNvPr id="25" name="Fußzeilenplatzhalter 2" hidden="1">
            <a:extLst>
              <a:ext uri="{FF2B5EF4-FFF2-40B4-BE49-F238E27FC236}">
                <a16:creationId xmlns:a16="http://schemas.microsoft.com/office/drawing/2014/main" id="{5BD9172A-82DB-4809-823F-544145D1687C}"/>
              </a:ext>
            </a:extLst>
          </p:cNvPr>
          <p:cNvSpPr>
            <a:spLocks noGrp="1"/>
          </p:cNvSpPr>
          <p:nvPr>
            <p:ph type="ftr" sz="quarter" idx="10"/>
          </p:nvPr>
        </p:nvSpPr>
        <p:spPr>
          <a:xfrm rot="16200000">
            <a:off x="10021500" y="3555244"/>
            <a:ext cx="3960000" cy="180000"/>
          </a:xfrm>
        </p:spPr>
        <p:txBody>
          <a:bodyPr/>
          <a:lstStyle>
            <a:lvl1pPr>
              <a:defRPr>
                <a:noFill/>
              </a:defRPr>
            </a:lvl1pPr>
          </a:lstStyle>
          <a:p>
            <a:r>
              <a:rPr lang="en-US"/>
              <a:t>Footer of the presentation</a:t>
            </a:r>
          </a:p>
        </p:txBody>
      </p:sp>
      <p:sp>
        <p:nvSpPr>
          <p:cNvPr id="26" name="Foliennummernplatzhalter 4" hidden="1">
            <a:extLst>
              <a:ext uri="{FF2B5EF4-FFF2-40B4-BE49-F238E27FC236}">
                <a16:creationId xmlns:a16="http://schemas.microsoft.com/office/drawing/2014/main" id="{F83C332A-25C1-455D-A5D9-B709EA05DCF2}"/>
              </a:ext>
            </a:extLst>
          </p:cNvPr>
          <p:cNvSpPr>
            <a:spLocks noGrp="1"/>
          </p:cNvSpPr>
          <p:nvPr>
            <p:ph type="sldNum" sz="quarter" idx="11"/>
          </p:nvPr>
        </p:nvSpPr>
        <p:spPr>
          <a:xfrm rot="16200000">
            <a:off x="11785500" y="6363360"/>
            <a:ext cx="432000" cy="180000"/>
          </a:xfrm>
        </p:spPr>
        <p:txBody>
          <a:bodyPr/>
          <a:lstStyle>
            <a:lvl1pPr>
              <a:defRPr>
                <a:noFill/>
              </a:defRPr>
            </a:lvl1pPr>
          </a:lstStyle>
          <a:p>
            <a:fld id="{0D1F56E0-B6F6-48D7-9539-F293D99B01ED}" type="slidenum">
              <a:rPr lang="en-US" smtClean="0"/>
              <a:pPr/>
              <a:t>‹#›</a:t>
            </a:fld>
            <a:endParaRPr lang="en-US"/>
          </a:p>
        </p:txBody>
      </p:sp>
    </p:spTree>
    <p:extLst>
      <p:ext uri="{BB962C8B-B14F-4D97-AF65-F5344CB8AC3E}">
        <p14:creationId xmlns:p14="http://schemas.microsoft.com/office/powerpoint/2010/main" val="34954718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Chapt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0219602-CFDD-48BB-85FF-0B0BEDB66D86}"/>
              </a:ext>
            </a:extLst>
          </p:cNvPr>
          <p:cNvSpPr/>
          <p:nvPr userDrawn="1"/>
        </p:nvSpPr>
        <p:spPr bwMode="gray">
          <a:xfrm>
            <a:off x="193675" y="188913"/>
            <a:ext cx="11807825" cy="64801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err="1">
              <a:solidFill>
                <a:schemeClr val="tx2"/>
              </a:solidFill>
              <a:latin typeface="Arial Nova Light" panose="020B0304020202020204" pitchFamily="34" charset="0"/>
              <a:cs typeface="Arial" panose="020B0604020202020204" pitchFamily="34" charset="0"/>
            </a:endParaRPr>
          </a:p>
        </p:txBody>
      </p:sp>
      <p:sp>
        <p:nvSpPr>
          <p:cNvPr id="2" name="Titel 1">
            <a:extLst>
              <a:ext uri="{FF2B5EF4-FFF2-40B4-BE49-F238E27FC236}">
                <a16:creationId xmlns:a16="http://schemas.microsoft.com/office/drawing/2014/main" id="{49FCC374-CCBB-4D06-B936-26263E8E67DE}"/>
              </a:ext>
            </a:extLst>
          </p:cNvPr>
          <p:cNvSpPr>
            <a:spLocks noGrp="1"/>
          </p:cNvSpPr>
          <p:nvPr>
            <p:ph type="ctrTitle" hasCustomPrompt="1"/>
          </p:nvPr>
        </p:nvSpPr>
        <p:spPr bwMode="gray">
          <a:xfrm>
            <a:off x="8293099" y="2751994"/>
            <a:ext cx="3529013" cy="2016040"/>
          </a:xfrm>
        </p:spPr>
        <p:txBody>
          <a:bodyPr tIns="0" anchor="ctr" anchorCtr="0">
            <a:noAutofit/>
          </a:bodyPr>
          <a:lstStyle>
            <a:lvl1pPr algn="l">
              <a:defRPr sz="16000">
                <a:solidFill>
                  <a:schemeClr val="bg2"/>
                </a:solidFill>
              </a:defRPr>
            </a:lvl1pPr>
          </a:lstStyle>
          <a:p>
            <a:r>
              <a:rPr lang="en-US"/>
              <a:t>01</a:t>
            </a:r>
          </a:p>
        </p:txBody>
      </p:sp>
      <p:sp>
        <p:nvSpPr>
          <p:cNvPr id="3" name="Untertitel 2">
            <a:extLst>
              <a:ext uri="{FF2B5EF4-FFF2-40B4-BE49-F238E27FC236}">
                <a16:creationId xmlns:a16="http://schemas.microsoft.com/office/drawing/2014/main" id="{6102B932-3BA9-4B43-9947-BCAC59741881}"/>
              </a:ext>
            </a:extLst>
          </p:cNvPr>
          <p:cNvSpPr>
            <a:spLocks noGrp="1"/>
          </p:cNvSpPr>
          <p:nvPr>
            <p:ph type="subTitle" idx="1" hasCustomPrompt="1"/>
          </p:nvPr>
        </p:nvSpPr>
        <p:spPr bwMode="gray">
          <a:xfrm>
            <a:off x="8293099" y="5049268"/>
            <a:ext cx="3529013" cy="792000"/>
          </a:xfrm>
        </p:spPr>
        <p:txBody>
          <a:bodyPr/>
          <a:lstStyle>
            <a:lvl1pPr marL="0" indent="0" algn="l">
              <a:spcBef>
                <a:spcPts val="0"/>
              </a:spcBef>
              <a:buNone/>
              <a:defRPr sz="1800">
                <a:solidFill>
                  <a:schemeClr val="bg1"/>
                </a:solidFill>
              </a:defRPr>
            </a:lvl1pPr>
            <a:lvl2pPr marL="0" indent="0" algn="l">
              <a:buNone/>
              <a:defRPr sz="1800">
                <a:solidFill>
                  <a:schemeClr val="bg1"/>
                </a:solidFill>
              </a:defRPr>
            </a:lvl2pPr>
            <a:lvl3pPr marL="0" indent="0" algn="l">
              <a:buNone/>
              <a:defRPr sz="1800">
                <a:solidFill>
                  <a:schemeClr val="bg1"/>
                </a:solidFill>
              </a:defRPr>
            </a:lvl3pPr>
            <a:lvl4pPr marL="0" indent="0" algn="l">
              <a:buNone/>
              <a:defRPr sz="1800">
                <a:solidFill>
                  <a:schemeClr val="bg1"/>
                </a:solidFill>
              </a:defRPr>
            </a:lvl4pPr>
            <a:lvl5pPr marL="0" indent="0" algn="l">
              <a:buNone/>
              <a:defRPr sz="1800">
                <a:solidFill>
                  <a:schemeClr val="bg1"/>
                </a:solidFill>
              </a:defRPr>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a:p>
            <a:pPr lvl="1"/>
            <a:r>
              <a:rPr lang="en-US"/>
              <a:t>Second Level</a:t>
            </a:r>
          </a:p>
          <a:p>
            <a:pPr lvl="2"/>
            <a:r>
              <a:rPr lang="en-US"/>
              <a:t>Three</a:t>
            </a:r>
          </a:p>
          <a:p>
            <a:pPr lvl="3"/>
            <a:r>
              <a:rPr lang="en-US"/>
              <a:t>Four</a:t>
            </a:r>
          </a:p>
          <a:p>
            <a:pPr lvl="4"/>
            <a:r>
              <a:rPr lang="en-US"/>
              <a:t>Five</a:t>
            </a:r>
          </a:p>
        </p:txBody>
      </p:sp>
      <p:pic>
        <p:nvPicPr>
          <p:cNvPr id="8" name="Grafik 4">
            <a:extLst>
              <a:ext uri="{FF2B5EF4-FFF2-40B4-BE49-F238E27FC236}">
                <a16:creationId xmlns:a16="http://schemas.microsoft.com/office/drawing/2014/main" id="{F9E014DA-98A2-4757-9544-E46D785D2DB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flipH="1" flipV="1">
            <a:off x="4081363" y="764704"/>
            <a:ext cx="3780420" cy="4983169"/>
          </a:xfrm>
          <a:prstGeom prst="rect">
            <a:avLst/>
          </a:prstGeom>
        </p:spPr>
      </p:pic>
      <p:sp>
        <p:nvSpPr>
          <p:cNvPr id="4" name="Fußzeilenplatzhalter 3" hidden="1">
            <a:extLst>
              <a:ext uri="{FF2B5EF4-FFF2-40B4-BE49-F238E27FC236}">
                <a16:creationId xmlns:a16="http://schemas.microsoft.com/office/drawing/2014/main" id="{48616B4C-BC94-4ECC-AAC0-9C251CD61C88}"/>
              </a:ext>
            </a:extLst>
          </p:cNvPr>
          <p:cNvSpPr>
            <a:spLocks noGrp="1"/>
          </p:cNvSpPr>
          <p:nvPr>
            <p:ph type="ftr" sz="quarter" idx="10"/>
          </p:nvPr>
        </p:nvSpPr>
        <p:spPr/>
        <p:txBody>
          <a:bodyPr/>
          <a:lstStyle>
            <a:lvl1pPr>
              <a:defRPr>
                <a:noFill/>
              </a:defRPr>
            </a:lvl1pPr>
          </a:lstStyle>
          <a:p>
            <a:r>
              <a:rPr lang="en-US"/>
              <a:t>Footer of the presentation</a:t>
            </a:r>
          </a:p>
        </p:txBody>
      </p:sp>
      <p:sp>
        <p:nvSpPr>
          <p:cNvPr id="5" name="Foliennummernplatzhalter 4" hidden="1">
            <a:extLst>
              <a:ext uri="{FF2B5EF4-FFF2-40B4-BE49-F238E27FC236}">
                <a16:creationId xmlns:a16="http://schemas.microsoft.com/office/drawing/2014/main" id="{88FC0569-E2A1-4C27-A0E3-9271FC8641C8}"/>
              </a:ext>
            </a:extLst>
          </p:cNvPr>
          <p:cNvSpPr>
            <a:spLocks noGrp="1"/>
          </p:cNvSpPr>
          <p:nvPr>
            <p:ph type="sldNum" sz="quarter" idx="11"/>
          </p:nvPr>
        </p:nvSpPr>
        <p:spPr/>
        <p:txBody>
          <a:bodyPr/>
          <a:lstStyle>
            <a:lvl1pPr>
              <a:defRPr>
                <a:noFill/>
              </a:defRPr>
            </a:lvl1pPr>
          </a:lstStyle>
          <a:p>
            <a:fld id="{0D1F56E0-B6F6-48D7-9539-F293D99B01ED}" type="slidenum">
              <a:rPr lang="en-US" smtClean="0"/>
              <a:pPr/>
              <a:t>‹#›</a:t>
            </a:fld>
            <a:endParaRPr lang="en-US"/>
          </a:p>
        </p:txBody>
      </p:sp>
    </p:spTree>
    <p:extLst>
      <p:ext uri="{BB962C8B-B14F-4D97-AF65-F5344CB8AC3E}">
        <p14:creationId xmlns:p14="http://schemas.microsoft.com/office/powerpoint/2010/main" val="2774066547"/>
      </p:ext>
    </p:extLst>
  </p:cSld>
  <p:clrMapOvr>
    <a:masterClrMapping/>
  </p:clrMapOvr>
  <p:extLst>
    <p:ext uri="{DCECCB84-F9BA-43D5-87BE-67443E8EF086}">
      <p15:sldGuideLst xmlns:p15="http://schemas.microsoft.com/office/powerpoint/2012/main">
        <p15:guide id="1" pos="7560">
          <p15:clr>
            <a:srgbClr val="F26B43"/>
          </p15:clr>
        </p15:guide>
        <p15:guide id="3" pos="122">
          <p15:clr>
            <a:srgbClr val="F26B43"/>
          </p15:clr>
        </p15:guide>
        <p15:guide id="4" orient="horz" pos="119">
          <p15:clr>
            <a:srgbClr val="F26B43"/>
          </p15:clr>
        </p15:guide>
        <p15:guide id="5" orient="horz" pos="420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picture">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8CC247FB-59B6-4D1A-AFD1-0BB60D72E5BC}"/>
              </a:ext>
            </a:extLst>
          </p:cNvPr>
          <p:cNvSpPr>
            <a:spLocks noGrp="1"/>
          </p:cNvSpPr>
          <p:nvPr>
            <p:ph type="pic" sz="quarter" idx="10"/>
          </p:nvPr>
        </p:nvSpPr>
        <p:spPr bwMode="gray">
          <a:xfrm>
            <a:off x="193674" y="188913"/>
            <a:ext cx="11807825" cy="6480176"/>
          </a:xfrm>
          <a:solidFill>
            <a:srgbClr val="E3E3E3"/>
          </a:solidFill>
        </p:spPr>
        <p:txBody>
          <a:bodyPr tIns="0" bIns="792000" anchor="ctr"/>
          <a:lstStyle>
            <a:lvl1pPr algn="ctr">
              <a:defRPr sz="1200"/>
            </a:lvl1pPr>
          </a:lstStyle>
          <a:p>
            <a:r>
              <a:rPr lang="zh-CN" altLang="en-US"/>
              <a:t>单击图标添加图片</a:t>
            </a:r>
            <a:endParaRPr lang="en-GB"/>
          </a:p>
        </p:txBody>
      </p:sp>
      <p:sp>
        <p:nvSpPr>
          <p:cNvPr id="2" name="Titel 1">
            <a:extLst>
              <a:ext uri="{FF2B5EF4-FFF2-40B4-BE49-F238E27FC236}">
                <a16:creationId xmlns:a16="http://schemas.microsoft.com/office/drawing/2014/main" id="{49FCC374-CCBB-4D06-B936-26263E8E67DE}"/>
              </a:ext>
            </a:extLst>
          </p:cNvPr>
          <p:cNvSpPr>
            <a:spLocks noGrp="1"/>
          </p:cNvSpPr>
          <p:nvPr>
            <p:ph type="ctrTitle" hasCustomPrompt="1"/>
          </p:nvPr>
        </p:nvSpPr>
        <p:spPr bwMode="gray">
          <a:xfrm>
            <a:off x="8293099" y="2751994"/>
            <a:ext cx="3529013" cy="2016040"/>
          </a:xfrm>
        </p:spPr>
        <p:txBody>
          <a:bodyPr tIns="0" anchor="ctr" anchorCtr="0">
            <a:noAutofit/>
          </a:bodyPr>
          <a:lstStyle>
            <a:lvl1pPr algn="l">
              <a:defRPr sz="16000">
                <a:solidFill>
                  <a:schemeClr val="bg2"/>
                </a:solidFill>
              </a:defRPr>
            </a:lvl1pPr>
          </a:lstStyle>
          <a:p>
            <a:r>
              <a:rPr lang="en-US"/>
              <a:t>01</a:t>
            </a:r>
          </a:p>
        </p:txBody>
      </p:sp>
      <p:sp>
        <p:nvSpPr>
          <p:cNvPr id="3" name="Untertitel 2">
            <a:extLst>
              <a:ext uri="{FF2B5EF4-FFF2-40B4-BE49-F238E27FC236}">
                <a16:creationId xmlns:a16="http://schemas.microsoft.com/office/drawing/2014/main" id="{6102B932-3BA9-4B43-9947-BCAC59741881}"/>
              </a:ext>
            </a:extLst>
          </p:cNvPr>
          <p:cNvSpPr>
            <a:spLocks noGrp="1"/>
          </p:cNvSpPr>
          <p:nvPr>
            <p:ph type="subTitle" idx="1" hasCustomPrompt="1"/>
          </p:nvPr>
        </p:nvSpPr>
        <p:spPr bwMode="gray">
          <a:xfrm>
            <a:off x="8293099" y="5049268"/>
            <a:ext cx="3529013" cy="792000"/>
          </a:xfrm>
        </p:spPr>
        <p:txBody>
          <a:bodyPr/>
          <a:lstStyle>
            <a:lvl1pPr marL="0" indent="0" algn="l">
              <a:spcBef>
                <a:spcPts val="0"/>
              </a:spcBef>
              <a:buNone/>
              <a:defRPr sz="1800">
                <a:solidFill>
                  <a:schemeClr val="tx1"/>
                </a:solidFill>
              </a:defRPr>
            </a:lvl1pPr>
            <a:lvl2pPr marL="0" indent="0" algn="l">
              <a:spcBef>
                <a:spcPts val="0"/>
              </a:spcBef>
              <a:buNone/>
              <a:defRPr sz="1800"/>
            </a:lvl2pPr>
            <a:lvl3pPr marL="0" indent="0" algn="l">
              <a:spcBef>
                <a:spcPts val="0"/>
              </a:spcBef>
              <a:buNone/>
              <a:defRPr sz="1800"/>
            </a:lvl3pPr>
            <a:lvl4pPr marL="0" indent="0" algn="l">
              <a:spcBef>
                <a:spcPts val="0"/>
              </a:spcBef>
              <a:buNone/>
              <a:defRPr sz="1800"/>
            </a:lvl4pPr>
            <a:lvl5pPr marL="0" indent="0" algn="l">
              <a:spcBef>
                <a:spcPts val="0"/>
              </a:spcBef>
              <a:buNone/>
              <a:defRPr sz="18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a:p>
            <a:pPr lvl="1"/>
            <a:r>
              <a:rPr lang="en-US"/>
              <a:t>Second Level</a:t>
            </a:r>
          </a:p>
          <a:p>
            <a:pPr lvl="2"/>
            <a:r>
              <a:rPr lang="en-US"/>
              <a:t>Three</a:t>
            </a:r>
          </a:p>
          <a:p>
            <a:pPr lvl="3"/>
            <a:r>
              <a:rPr lang="en-US"/>
              <a:t>Four</a:t>
            </a:r>
          </a:p>
          <a:p>
            <a:pPr lvl="4"/>
            <a:r>
              <a:rPr lang="en-US"/>
              <a:t>Five</a:t>
            </a:r>
          </a:p>
        </p:txBody>
      </p:sp>
      <p:sp>
        <p:nvSpPr>
          <p:cNvPr id="4" name="Fußzeilenplatzhalter 3" hidden="1">
            <a:extLst>
              <a:ext uri="{FF2B5EF4-FFF2-40B4-BE49-F238E27FC236}">
                <a16:creationId xmlns:a16="http://schemas.microsoft.com/office/drawing/2014/main" id="{E83DE50F-A174-4B85-B098-3777104A8620}"/>
              </a:ext>
            </a:extLst>
          </p:cNvPr>
          <p:cNvSpPr>
            <a:spLocks noGrp="1"/>
          </p:cNvSpPr>
          <p:nvPr>
            <p:ph type="ftr" sz="quarter" idx="11"/>
          </p:nvPr>
        </p:nvSpPr>
        <p:spPr/>
        <p:txBody>
          <a:bodyPr/>
          <a:lstStyle>
            <a:lvl1pPr>
              <a:defRPr>
                <a:noFill/>
              </a:defRPr>
            </a:lvl1pPr>
          </a:lstStyle>
          <a:p>
            <a:r>
              <a:rPr lang="en-US"/>
              <a:t>Footer of the presentation</a:t>
            </a:r>
          </a:p>
        </p:txBody>
      </p:sp>
      <p:sp>
        <p:nvSpPr>
          <p:cNvPr id="5" name="Foliennummernplatzhalter 4" hidden="1">
            <a:extLst>
              <a:ext uri="{FF2B5EF4-FFF2-40B4-BE49-F238E27FC236}">
                <a16:creationId xmlns:a16="http://schemas.microsoft.com/office/drawing/2014/main" id="{1CE05BC0-EC64-455A-AA73-992EFEF5E602}"/>
              </a:ext>
            </a:extLst>
          </p:cNvPr>
          <p:cNvSpPr>
            <a:spLocks noGrp="1"/>
          </p:cNvSpPr>
          <p:nvPr>
            <p:ph type="sldNum" sz="quarter" idx="12"/>
          </p:nvPr>
        </p:nvSpPr>
        <p:spPr/>
        <p:txBody>
          <a:bodyPr/>
          <a:lstStyle>
            <a:lvl1pPr>
              <a:defRPr>
                <a:noFill/>
              </a:defRPr>
            </a:lvl1pPr>
          </a:lstStyle>
          <a:p>
            <a:fld id="{0D1F56E0-B6F6-48D7-9539-F293D99B01ED}" type="slidenum">
              <a:rPr lang="en-US" smtClean="0"/>
              <a:pPr/>
              <a:t>‹#›</a:t>
            </a:fld>
            <a:endParaRPr lang="en-US"/>
          </a:p>
        </p:txBody>
      </p:sp>
    </p:spTree>
    <p:extLst>
      <p:ext uri="{BB962C8B-B14F-4D97-AF65-F5344CB8AC3E}">
        <p14:creationId xmlns:p14="http://schemas.microsoft.com/office/powerpoint/2010/main" val="197049126"/>
      </p:ext>
    </p:extLst>
  </p:cSld>
  <p:clrMapOvr>
    <a:masterClrMapping/>
  </p:clrMapOvr>
  <p:extLst>
    <p:ext uri="{DCECCB84-F9BA-43D5-87BE-67443E8EF086}">
      <p15:sldGuideLst xmlns:p15="http://schemas.microsoft.com/office/powerpoint/2012/main">
        <p15:guide id="1" pos="7560">
          <p15:clr>
            <a:srgbClr val="F26B43"/>
          </p15:clr>
        </p15:guide>
        <p15:guide id="3" pos="122">
          <p15:clr>
            <a:srgbClr val="F26B43"/>
          </p15:clr>
        </p15:guide>
        <p15:guide id="4" orient="horz" pos="119">
          <p15:clr>
            <a:srgbClr val="F26B43"/>
          </p15:clr>
        </p15:guide>
        <p15:guide id="5" orient="horz" pos="420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pic>
        <p:nvPicPr>
          <p:cNvPr id="5" name="Grafik 7">
            <a:extLst>
              <a:ext uri="{FF2B5EF4-FFF2-40B4-BE49-F238E27FC236}">
                <a16:creationId xmlns:a16="http://schemas.microsoft.com/office/drawing/2014/main" id="{155BA1B1-8D58-4D78-87FC-612BE6730DB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rot="16200000">
            <a:off x="11547102" y="335844"/>
            <a:ext cx="932160" cy="381473"/>
          </a:xfrm>
          <a:prstGeom prst="rect">
            <a:avLst/>
          </a:prstGeom>
        </p:spPr>
      </p:pic>
      <p:sp>
        <p:nvSpPr>
          <p:cNvPr id="6" name="Title 5">
            <a:extLst>
              <a:ext uri="{FF2B5EF4-FFF2-40B4-BE49-F238E27FC236}">
                <a16:creationId xmlns:a16="http://schemas.microsoft.com/office/drawing/2014/main" id="{40838088-0A0E-4764-8965-9AF750E1E18C}"/>
              </a:ext>
            </a:extLst>
          </p:cNvPr>
          <p:cNvSpPr>
            <a:spLocks noGrp="1"/>
          </p:cNvSpPr>
          <p:nvPr>
            <p:ph type="title"/>
          </p:nvPr>
        </p:nvSpPr>
        <p:spPr bwMode="gray">
          <a:xfrm>
            <a:off x="372951" y="296651"/>
            <a:ext cx="11449049" cy="936000"/>
          </a:xfrm>
        </p:spPr>
        <p:txBody>
          <a:bodyPr/>
          <a:lstStyle>
            <a:lvl1pPr>
              <a:defRPr/>
            </a:lvl1pPr>
          </a:lstStyle>
          <a:p>
            <a:r>
              <a:rPr lang="zh-CN" altLang="en-US"/>
              <a:t>单击此处编辑母版标题样式</a:t>
            </a:r>
            <a:endParaRPr lang="en-US"/>
          </a:p>
        </p:txBody>
      </p:sp>
      <p:sp>
        <p:nvSpPr>
          <p:cNvPr id="7" name="Footer Placeholder 6">
            <a:extLst>
              <a:ext uri="{FF2B5EF4-FFF2-40B4-BE49-F238E27FC236}">
                <a16:creationId xmlns:a16="http://schemas.microsoft.com/office/drawing/2014/main" id="{6D3F6FF0-048D-4052-84C9-5CFE19FE3BF5}"/>
              </a:ext>
            </a:extLst>
          </p:cNvPr>
          <p:cNvSpPr>
            <a:spLocks noGrp="1"/>
          </p:cNvSpPr>
          <p:nvPr>
            <p:ph type="ftr" sz="quarter" idx="10"/>
          </p:nvPr>
        </p:nvSpPr>
        <p:spPr bwMode="gray"/>
        <p:txBody>
          <a:bodyPr/>
          <a:lstStyle/>
          <a:p>
            <a:r>
              <a:rPr lang="en-US"/>
              <a:t>Footer of the presentation</a:t>
            </a:r>
          </a:p>
        </p:txBody>
      </p:sp>
      <p:sp>
        <p:nvSpPr>
          <p:cNvPr id="8" name="Slide Number Placeholder 7">
            <a:extLst>
              <a:ext uri="{FF2B5EF4-FFF2-40B4-BE49-F238E27FC236}">
                <a16:creationId xmlns:a16="http://schemas.microsoft.com/office/drawing/2014/main" id="{FD5C8812-ED8F-495B-9583-A88AEC85A3A2}"/>
              </a:ext>
            </a:extLst>
          </p:cNvPr>
          <p:cNvSpPr>
            <a:spLocks noGrp="1"/>
          </p:cNvSpPr>
          <p:nvPr>
            <p:ph type="sldNum" sz="quarter" idx="11"/>
          </p:nvPr>
        </p:nvSpPr>
        <p:spPr bwMode="gray"/>
        <p:txBody>
          <a:bodyPr/>
          <a:lstStyle/>
          <a:p>
            <a:fld id="{0D1F56E0-B6F6-48D7-9539-F293D99B01ED}" type="slidenum">
              <a:rPr lang="en-US" smtClean="0"/>
              <a:pPr/>
              <a:t>‹#›</a:t>
            </a:fld>
            <a:endParaRPr lang="en-US"/>
          </a:p>
        </p:txBody>
      </p:sp>
    </p:spTree>
    <p:extLst>
      <p:ext uri="{BB962C8B-B14F-4D97-AF65-F5344CB8AC3E}">
        <p14:creationId xmlns:p14="http://schemas.microsoft.com/office/powerpoint/2010/main" val="1033549838"/>
      </p:ext>
    </p:extLst>
  </p:cSld>
  <p:clrMapOvr>
    <a:masterClrMapping/>
  </p:clrMapOvr>
  <p:extLst>
    <p:ext uri="{DCECCB84-F9BA-43D5-87BE-67443E8EF086}">
      <p15:sldGuideLst xmlns:p15="http://schemas.microsoft.com/office/powerpoint/2012/main">
        <p15:guide id="1" orient="horz" pos="4201" userDrawn="1">
          <p15:clr>
            <a:srgbClr val="F26B43"/>
          </p15:clr>
        </p15:guide>
        <p15:guide id="2" pos="7447" userDrawn="1">
          <p15:clr>
            <a:srgbClr val="F26B43"/>
          </p15:clr>
        </p15:guide>
        <p15:guide id="3" orient="horz" pos="1049" userDrawn="1">
          <p15:clr>
            <a:srgbClr val="F26B43"/>
          </p15:clr>
        </p15:guide>
        <p15:guide id="4" pos="235"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One conten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72952" y="296651"/>
            <a:ext cx="11449049" cy="936000"/>
          </a:xfrm>
          <a:prstGeom prst="rect">
            <a:avLst/>
          </a:prstGeom>
        </p:spPr>
        <p:txBody>
          <a:bodyPr/>
          <a:lstStyle>
            <a:lvl1pPr>
              <a:defRPr/>
            </a:lvl1pPr>
          </a:lstStyle>
          <a:p>
            <a:r>
              <a:rPr lang="zh-CN" altLang="en-US"/>
              <a:t>单击此处编辑母版标题样式</a:t>
            </a:r>
            <a:endParaRPr lang="en-US"/>
          </a:p>
        </p:txBody>
      </p:sp>
      <p:sp>
        <p:nvSpPr>
          <p:cNvPr id="3" name="Inhaltsplatzhalter 2"/>
          <p:cNvSpPr>
            <a:spLocks noGrp="1"/>
          </p:cNvSpPr>
          <p:nvPr>
            <p:ph idx="1" hasCustomPrompt="1"/>
          </p:nvPr>
        </p:nvSpPr>
        <p:spPr bwMode="gray"/>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a:t>Subline First Level</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pic>
        <p:nvPicPr>
          <p:cNvPr id="6" name="Grafik 64">
            <a:extLst>
              <a:ext uri="{FF2B5EF4-FFF2-40B4-BE49-F238E27FC236}">
                <a16:creationId xmlns:a16="http://schemas.microsoft.com/office/drawing/2014/main" id="{24558650-3D52-48D4-840A-DEBCD1D174D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rot="16200000">
            <a:off x="11547102" y="335844"/>
            <a:ext cx="932160" cy="381473"/>
          </a:xfrm>
          <a:prstGeom prst="rect">
            <a:avLst/>
          </a:prstGeom>
        </p:spPr>
      </p:pic>
      <p:sp>
        <p:nvSpPr>
          <p:cNvPr id="4" name="Footer Placeholder 3">
            <a:extLst>
              <a:ext uri="{FF2B5EF4-FFF2-40B4-BE49-F238E27FC236}">
                <a16:creationId xmlns:a16="http://schemas.microsoft.com/office/drawing/2014/main" id="{CF5164C4-5D0D-4B79-962F-B220F9F47B73}"/>
              </a:ext>
            </a:extLst>
          </p:cNvPr>
          <p:cNvSpPr>
            <a:spLocks noGrp="1"/>
          </p:cNvSpPr>
          <p:nvPr>
            <p:ph type="ftr" sz="quarter" idx="10"/>
          </p:nvPr>
        </p:nvSpPr>
        <p:spPr bwMode="gray"/>
        <p:txBody>
          <a:bodyPr/>
          <a:lstStyle/>
          <a:p>
            <a:r>
              <a:rPr lang="en-US"/>
              <a:t>Footer of the presentation</a:t>
            </a:r>
          </a:p>
        </p:txBody>
      </p:sp>
      <p:sp>
        <p:nvSpPr>
          <p:cNvPr id="7" name="Slide Number Placeholder 6">
            <a:extLst>
              <a:ext uri="{FF2B5EF4-FFF2-40B4-BE49-F238E27FC236}">
                <a16:creationId xmlns:a16="http://schemas.microsoft.com/office/drawing/2014/main" id="{4276346C-96E0-4E02-AECD-7BF79CE13A0A}"/>
              </a:ext>
            </a:extLst>
          </p:cNvPr>
          <p:cNvSpPr>
            <a:spLocks noGrp="1"/>
          </p:cNvSpPr>
          <p:nvPr>
            <p:ph type="sldNum" sz="quarter" idx="11"/>
          </p:nvPr>
        </p:nvSpPr>
        <p:spPr bwMode="gray"/>
        <p:txBody>
          <a:bodyPr/>
          <a:lstStyle/>
          <a:p>
            <a:fld id="{0D1F56E0-B6F6-48D7-9539-F293D99B01ED}" type="slidenum">
              <a:rPr lang="en-US" smtClean="0"/>
              <a:pPr/>
              <a:t>‹#›</a:t>
            </a:fld>
            <a:endParaRPr lang="en-US"/>
          </a:p>
        </p:txBody>
      </p:sp>
    </p:spTree>
    <p:extLst>
      <p:ext uri="{BB962C8B-B14F-4D97-AF65-F5344CB8AC3E}">
        <p14:creationId xmlns:p14="http://schemas.microsoft.com/office/powerpoint/2010/main" val="1991881320"/>
      </p:ext>
    </p:extLst>
  </p:cSld>
  <p:clrMapOvr>
    <a:masterClrMapping/>
  </p:clrMapOvr>
  <p:extLst>
    <p:ext uri="{DCECCB84-F9BA-43D5-87BE-67443E8EF086}">
      <p15:sldGuideLst xmlns:p15="http://schemas.microsoft.com/office/powerpoint/2012/main">
        <p15:guide id="1" orient="horz" pos="4201" userDrawn="1">
          <p15:clr>
            <a:srgbClr val="F26B43"/>
          </p15:clr>
        </p15:guide>
        <p15:guide id="2" pos="235" userDrawn="1">
          <p15:clr>
            <a:srgbClr val="F26B43"/>
          </p15:clr>
        </p15:guide>
        <p15:guide id="3" pos="7447" userDrawn="1">
          <p15:clr>
            <a:srgbClr val="F26B43"/>
          </p15:clr>
        </p15:guide>
        <p15:guide id="4" orient="horz" pos="1049" userDrawn="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373063" y="1665288"/>
            <a:ext cx="11449050" cy="5003800"/>
          </a:xfrm>
          <a:prstGeom prst="rect">
            <a:avLst/>
          </a:prstGeom>
        </p:spPr>
        <p:txBody>
          <a:bodyPr vert="horz" lIns="0" tIns="0" rIns="0" bIns="0" rtlCol="0">
            <a:noAutofit/>
          </a:bodyPr>
          <a:lstStyle/>
          <a:p>
            <a:pPr lvl="0"/>
            <a:r>
              <a:rPr lang="en-US"/>
              <a:t>Subline First Level</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cxnSp>
        <p:nvCxnSpPr>
          <p:cNvPr id="6" name="Gerader Verbinder 5">
            <a:extLst>
              <a:ext uri="{FF2B5EF4-FFF2-40B4-BE49-F238E27FC236}">
                <a16:creationId xmlns:a16="http://schemas.microsoft.com/office/drawing/2014/main" id="{C36141E0-FC62-40D2-8669-F375829AE5B5}"/>
              </a:ext>
            </a:extLst>
          </p:cNvPr>
          <p:cNvCxnSpPr>
            <a:cxnSpLocks/>
          </p:cNvCxnSpPr>
          <p:nvPr userDrawn="1"/>
        </p:nvCxnSpPr>
        <p:spPr bwMode="gray">
          <a:xfrm>
            <a:off x="3902075" y="-207404"/>
            <a:ext cx="0" cy="144016"/>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944CCA8E-2719-4D15-8F68-9FC39A689B24}"/>
              </a:ext>
            </a:extLst>
          </p:cNvPr>
          <p:cNvCxnSpPr>
            <a:cxnSpLocks/>
          </p:cNvCxnSpPr>
          <p:nvPr userDrawn="1"/>
        </p:nvCxnSpPr>
        <p:spPr bwMode="gray">
          <a:xfrm>
            <a:off x="4333391" y="-207404"/>
            <a:ext cx="0" cy="144016"/>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F800D58A-D854-4F13-BAD2-1FFE4DBA314A}"/>
              </a:ext>
            </a:extLst>
          </p:cNvPr>
          <p:cNvCxnSpPr>
            <a:cxnSpLocks/>
          </p:cNvCxnSpPr>
          <p:nvPr userDrawn="1"/>
        </p:nvCxnSpPr>
        <p:spPr bwMode="gray">
          <a:xfrm>
            <a:off x="7861783" y="-207404"/>
            <a:ext cx="0" cy="144016"/>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5C37B119-B83C-49CE-83B4-23980EA69A34}"/>
              </a:ext>
            </a:extLst>
          </p:cNvPr>
          <p:cNvCxnSpPr>
            <a:cxnSpLocks/>
          </p:cNvCxnSpPr>
          <p:nvPr userDrawn="1"/>
        </p:nvCxnSpPr>
        <p:spPr bwMode="gray">
          <a:xfrm>
            <a:off x="8293831" y="-207404"/>
            <a:ext cx="0" cy="144016"/>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67BFA953-C09A-4D51-AD11-72B985889D94}"/>
              </a:ext>
            </a:extLst>
          </p:cNvPr>
          <p:cNvCxnSpPr>
            <a:cxnSpLocks/>
          </p:cNvCxnSpPr>
          <p:nvPr userDrawn="1"/>
        </p:nvCxnSpPr>
        <p:spPr bwMode="gray">
          <a:xfrm>
            <a:off x="5845559" y="-207404"/>
            <a:ext cx="0" cy="144016"/>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012824C4-839C-4F9C-B2CC-D533970C3F91}"/>
              </a:ext>
            </a:extLst>
          </p:cNvPr>
          <p:cNvCxnSpPr>
            <a:cxnSpLocks/>
          </p:cNvCxnSpPr>
          <p:nvPr userDrawn="1"/>
        </p:nvCxnSpPr>
        <p:spPr bwMode="gray">
          <a:xfrm>
            <a:off x="6349615" y="-207404"/>
            <a:ext cx="0" cy="144016"/>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821C4025-D472-4850-B656-37A9BDA756C5}"/>
              </a:ext>
            </a:extLst>
          </p:cNvPr>
          <p:cNvCxnSpPr>
            <a:cxnSpLocks/>
          </p:cNvCxnSpPr>
          <p:nvPr userDrawn="1"/>
        </p:nvCxnSpPr>
        <p:spPr bwMode="gray">
          <a:xfrm>
            <a:off x="2965239" y="-207404"/>
            <a:ext cx="0" cy="144016"/>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1906E8A0-B53E-4C6A-A116-11E58B2E5CBF}"/>
              </a:ext>
            </a:extLst>
          </p:cNvPr>
          <p:cNvCxnSpPr>
            <a:cxnSpLocks/>
          </p:cNvCxnSpPr>
          <p:nvPr userDrawn="1"/>
        </p:nvCxnSpPr>
        <p:spPr bwMode="gray">
          <a:xfrm>
            <a:off x="3325279" y="-207404"/>
            <a:ext cx="0" cy="144016"/>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53C550E3-52B8-4D5B-B0F3-3B45320962CD}"/>
              </a:ext>
            </a:extLst>
          </p:cNvPr>
          <p:cNvCxnSpPr>
            <a:cxnSpLocks/>
          </p:cNvCxnSpPr>
          <p:nvPr userDrawn="1"/>
        </p:nvCxnSpPr>
        <p:spPr bwMode="gray">
          <a:xfrm>
            <a:off x="8869895" y="-207404"/>
            <a:ext cx="0" cy="144016"/>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 name="Gerader Verbinder 50">
            <a:extLst>
              <a:ext uri="{FF2B5EF4-FFF2-40B4-BE49-F238E27FC236}">
                <a16:creationId xmlns:a16="http://schemas.microsoft.com/office/drawing/2014/main" id="{5E97484F-F32B-49E5-94C0-82E303D6F411}"/>
              </a:ext>
            </a:extLst>
          </p:cNvPr>
          <p:cNvCxnSpPr>
            <a:cxnSpLocks/>
          </p:cNvCxnSpPr>
          <p:nvPr userDrawn="1"/>
        </p:nvCxnSpPr>
        <p:spPr bwMode="gray">
          <a:xfrm>
            <a:off x="9229935" y="-207404"/>
            <a:ext cx="0" cy="144016"/>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5984F6F5-9DD5-4361-AE75-7CB0ECE987DF}"/>
              </a:ext>
            </a:extLst>
          </p:cNvPr>
          <p:cNvCxnSpPr>
            <a:cxnSpLocks/>
          </p:cNvCxnSpPr>
          <p:nvPr userDrawn="1"/>
        </p:nvCxnSpPr>
        <p:spPr bwMode="gray">
          <a:xfrm rot="16200000">
            <a:off x="-131105" y="1592796"/>
            <a:ext cx="0" cy="144016"/>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55" name="Fußzeilenplatzhalter 54">
            <a:extLst>
              <a:ext uri="{FF2B5EF4-FFF2-40B4-BE49-F238E27FC236}">
                <a16:creationId xmlns:a16="http://schemas.microsoft.com/office/drawing/2014/main" id="{89164132-B304-49AC-A3AC-9C35B548AC1C}"/>
              </a:ext>
            </a:extLst>
          </p:cNvPr>
          <p:cNvSpPr>
            <a:spLocks noGrp="1"/>
          </p:cNvSpPr>
          <p:nvPr>
            <p:ph type="ftr" sz="quarter" idx="3"/>
            <p:custDataLst>
              <p:tags r:id="rId33"/>
            </p:custDataLst>
          </p:nvPr>
        </p:nvSpPr>
        <p:spPr bwMode="gray">
          <a:xfrm rot="16200000">
            <a:off x="10021500" y="3555244"/>
            <a:ext cx="3960000" cy="180000"/>
          </a:xfrm>
          <a:prstGeom prst="rect">
            <a:avLst/>
          </a:prstGeom>
          <a:ln>
            <a:noFill/>
          </a:ln>
        </p:spPr>
        <p:txBody>
          <a:bodyPr vert="horz" lIns="0" tIns="0" rIns="0" bIns="0" rtlCol="0" anchor="ctr"/>
          <a:lstStyle>
            <a:lvl1pPr algn="l">
              <a:defRPr sz="900">
                <a:solidFill>
                  <a:srgbClr val="A7A7A7"/>
                </a:solidFill>
              </a:defRPr>
            </a:lvl1pPr>
          </a:lstStyle>
          <a:p>
            <a:r>
              <a:rPr lang="en-US"/>
              <a:t>Footer of the presentation</a:t>
            </a:r>
          </a:p>
        </p:txBody>
      </p:sp>
      <p:sp>
        <p:nvSpPr>
          <p:cNvPr id="56" name="Foliennummernplatzhalter 55">
            <a:extLst>
              <a:ext uri="{FF2B5EF4-FFF2-40B4-BE49-F238E27FC236}">
                <a16:creationId xmlns:a16="http://schemas.microsoft.com/office/drawing/2014/main" id="{24CC0301-13B6-460D-BA06-0969D6E3EA69}"/>
              </a:ext>
            </a:extLst>
          </p:cNvPr>
          <p:cNvSpPr>
            <a:spLocks noGrp="1"/>
          </p:cNvSpPr>
          <p:nvPr>
            <p:ph type="sldNum" sz="quarter" idx="4"/>
            <p:custDataLst>
              <p:tags r:id="rId34"/>
            </p:custDataLst>
          </p:nvPr>
        </p:nvSpPr>
        <p:spPr bwMode="gray">
          <a:xfrm rot="16200000">
            <a:off x="11785500" y="6363360"/>
            <a:ext cx="432000" cy="180000"/>
          </a:xfrm>
          <a:prstGeom prst="rect">
            <a:avLst/>
          </a:prstGeom>
          <a:ln>
            <a:noFill/>
          </a:ln>
        </p:spPr>
        <p:txBody>
          <a:bodyPr vert="horz" lIns="0" tIns="0" rIns="0" bIns="0" rtlCol="0" anchor="ctr"/>
          <a:lstStyle>
            <a:lvl1pPr algn="l">
              <a:defRPr sz="900">
                <a:solidFill>
                  <a:srgbClr val="A7A7A7"/>
                </a:solidFill>
              </a:defRPr>
            </a:lvl1pPr>
          </a:lstStyle>
          <a:p>
            <a:fld id="{0D1F56E0-B6F6-48D7-9539-F293D99B01ED}" type="slidenum">
              <a:rPr lang="en-US" smtClean="0"/>
              <a:pPr/>
              <a:t>‹#›</a:t>
            </a:fld>
            <a:endParaRPr lang="en-US"/>
          </a:p>
        </p:txBody>
      </p:sp>
      <p:sp>
        <p:nvSpPr>
          <p:cNvPr id="57" name="Titelplatzhalter 56">
            <a:extLst>
              <a:ext uri="{FF2B5EF4-FFF2-40B4-BE49-F238E27FC236}">
                <a16:creationId xmlns:a16="http://schemas.microsoft.com/office/drawing/2014/main" id="{8A4DF5DF-4A47-4492-87A8-D830B1E7A6DB}"/>
              </a:ext>
            </a:extLst>
          </p:cNvPr>
          <p:cNvSpPr>
            <a:spLocks noGrp="1"/>
          </p:cNvSpPr>
          <p:nvPr>
            <p:ph type="title"/>
          </p:nvPr>
        </p:nvSpPr>
        <p:spPr bwMode="gray">
          <a:xfrm>
            <a:off x="372951" y="296651"/>
            <a:ext cx="11449049" cy="936000"/>
          </a:xfrm>
          <a:prstGeom prst="rect">
            <a:avLst/>
          </a:prstGeom>
        </p:spPr>
        <p:txBody>
          <a:bodyPr vert="horz" lIns="0" tIns="0" rIns="0" bIns="0" rtlCol="0" anchor="t">
            <a:noAutofit/>
          </a:bodyPr>
          <a:lstStyle/>
          <a:p>
            <a:r>
              <a:rPr lang="en-US"/>
              <a:t>Click to add title</a:t>
            </a:r>
          </a:p>
        </p:txBody>
      </p:sp>
      <p:cxnSp>
        <p:nvCxnSpPr>
          <p:cNvPr id="59" name="Gerader Verbinder 58">
            <a:extLst>
              <a:ext uri="{FF2B5EF4-FFF2-40B4-BE49-F238E27FC236}">
                <a16:creationId xmlns:a16="http://schemas.microsoft.com/office/drawing/2014/main" id="{C8C93C92-A8CD-4142-A203-D6D3DCAF87C8}"/>
              </a:ext>
            </a:extLst>
          </p:cNvPr>
          <p:cNvCxnSpPr>
            <a:cxnSpLocks/>
          </p:cNvCxnSpPr>
          <p:nvPr userDrawn="1"/>
        </p:nvCxnSpPr>
        <p:spPr bwMode="gray">
          <a:xfrm>
            <a:off x="191876" y="-207404"/>
            <a:ext cx="0" cy="144016"/>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01577375-24BC-484C-B150-5875F7919669}"/>
              </a:ext>
            </a:extLst>
          </p:cNvPr>
          <p:cNvCxnSpPr>
            <a:cxnSpLocks/>
          </p:cNvCxnSpPr>
          <p:nvPr userDrawn="1"/>
        </p:nvCxnSpPr>
        <p:spPr bwMode="gray">
          <a:xfrm>
            <a:off x="372951" y="-207404"/>
            <a:ext cx="0" cy="144016"/>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388093F1-C4BF-405A-86D8-6171CFD1CD32}"/>
              </a:ext>
            </a:extLst>
          </p:cNvPr>
          <p:cNvCxnSpPr>
            <a:cxnSpLocks/>
          </p:cNvCxnSpPr>
          <p:nvPr userDrawn="1"/>
        </p:nvCxnSpPr>
        <p:spPr bwMode="gray">
          <a:xfrm rot="16200000">
            <a:off x="-131105" y="6597352"/>
            <a:ext cx="0" cy="144016"/>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EB79EE5C-A440-46B4-97C5-9D6DDB56D3C4}"/>
              </a:ext>
            </a:extLst>
          </p:cNvPr>
          <p:cNvCxnSpPr>
            <a:cxnSpLocks/>
          </p:cNvCxnSpPr>
          <p:nvPr userDrawn="1"/>
        </p:nvCxnSpPr>
        <p:spPr bwMode="gray">
          <a:xfrm rot="16200000">
            <a:off x="-131105" y="116632"/>
            <a:ext cx="0" cy="144016"/>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8255B65F-058E-4D3E-A5F0-B563A1ACB4CA}"/>
              </a:ext>
            </a:extLst>
          </p:cNvPr>
          <p:cNvCxnSpPr>
            <a:cxnSpLocks/>
          </p:cNvCxnSpPr>
          <p:nvPr userDrawn="1"/>
        </p:nvCxnSpPr>
        <p:spPr bwMode="gray">
          <a:xfrm>
            <a:off x="11822223" y="-207404"/>
            <a:ext cx="0" cy="144016"/>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5865E99-EEFB-4562-A051-8B61D8DE54DD}"/>
              </a:ext>
            </a:extLst>
          </p:cNvPr>
          <p:cNvCxnSpPr>
            <a:cxnSpLocks/>
          </p:cNvCxnSpPr>
          <p:nvPr userDrawn="1"/>
        </p:nvCxnSpPr>
        <p:spPr bwMode="gray">
          <a:xfrm>
            <a:off x="12002243" y="-207404"/>
            <a:ext cx="0" cy="144016"/>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3" name="TW_CONFIDENTIAL">
            <a:extLst>
              <a:ext uri="{FF2B5EF4-FFF2-40B4-BE49-F238E27FC236}">
                <a16:creationId xmlns:a16="http://schemas.microsoft.com/office/drawing/2014/main" id="{46F4C0C9-C7AC-4AF5-9D58-246853194042}"/>
              </a:ext>
            </a:extLst>
          </p:cNvPr>
          <p:cNvSpPr txBox="1">
            <a:spLocks noChangeArrowheads="1"/>
          </p:cNvSpPr>
          <p:nvPr userDrawn="1"/>
        </p:nvSpPr>
        <p:spPr bwMode="auto">
          <a:xfrm>
            <a:off x="372951" y="6696000"/>
            <a:ext cx="3240000" cy="123111"/>
          </a:xfrm>
          <a:prstGeom prst="rect">
            <a:avLst/>
          </a:prstGeom>
        </p:spPr>
        <p:txBody>
          <a:bodyPr horzOverflow="overflow" wrap="square" lIns="0" tIns="0" rIns="0" bIns="0">
            <a:spAutoFit/>
          </a:bodyPr>
          <a:lstStyle>
            <a:defPPr>
              <a:defRPr lang="de-DE"/>
            </a:defPPr>
            <a:lvl1pPr>
              <a:defRPr sz="800">
                <a:solidFill>
                  <a:srgbClr val="A7A7A7"/>
                </a:solidFill>
                <a:latin typeface="+mj-lt"/>
                <a:cs typeface="Calibri" panose="020F0502020204030204" pitchFamily="34" charset="0"/>
              </a:defRPr>
            </a:lvl1pPr>
          </a:lstStyle>
          <a:p>
            <a:pPr lvl="0"/>
            <a:r>
              <a:rPr lang="de-DE"/>
              <a:t>B1 Business</a:t>
            </a:r>
          </a:p>
        </p:txBody>
      </p:sp>
    </p:spTree>
    <p:extLst>
      <p:ext uri="{BB962C8B-B14F-4D97-AF65-F5344CB8AC3E}">
        <p14:creationId xmlns:p14="http://schemas.microsoft.com/office/powerpoint/2010/main" val="171868809"/>
      </p:ext>
    </p:extLst>
  </p:cSld>
  <p:clrMap bg1="lt1" tx1="dk1" bg2="lt2" tx2="dk2" accent1="accent1" accent2="accent2" accent3="accent3" accent4="accent4" accent5="accent5" accent6="accent6" hlink="hlink" folHlink="folHlink"/>
  <p:sldLayoutIdLst>
    <p:sldLayoutId id="2147483718" r:id="rId1"/>
    <p:sldLayoutId id="2147483740" r:id="rId2"/>
    <p:sldLayoutId id="2147483724" r:id="rId3"/>
    <p:sldLayoutId id="2147483725" r:id="rId4"/>
    <p:sldLayoutId id="2147483744" r:id="rId5"/>
    <p:sldLayoutId id="2147483741" r:id="rId6"/>
    <p:sldLayoutId id="2147483742" r:id="rId7"/>
    <p:sldLayoutId id="2147483654" r:id="rId8"/>
    <p:sldLayoutId id="2147483650" r:id="rId9"/>
    <p:sldLayoutId id="2147483683" r:id="rId10"/>
    <p:sldLayoutId id="2147483684" r:id="rId11"/>
    <p:sldLayoutId id="2147483743" r:id="rId12"/>
    <p:sldLayoutId id="2147483721" r:id="rId13"/>
    <p:sldLayoutId id="2147483722" r:id="rId14"/>
    <p:sldLayoutId id="2147483720"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8" r:id="rId29"/>
    <p:sldLayoutId id="2147483750" r:id="rId30"/>
    <p:sldLayoutId id="2147483752" r:id="rId31"/>
  </p:sldLayoutIdLst>
  <p:hf hdr="0" dt="0"/>
  <p:txStyles>
    <p:titleStyle>
      <a:lvl1pPr algn="l" defTabSz="914400" rtl="0" eaLnBrk="1" latinLnBrk="0" hangingPunct="1">
        <a:spcBef>
          <a:spcPct val="0"/>
        </a:spcBef>
        <a:buNone/>
        <a:defRPr sz="2800" b="0" kern="1200">
          <a:solidFill>
            <a:schemeClr val="tx2"/>
          </a:solidFill>
          <a:latin typeface="+mj-lt"/>
          <a:ea typeface="+mj-ea"/>
          <a:cs typeface="Arial" panose="020B0604020202020204" pitchFamily="34" charset="0"/>
        </a:defRPr>
      </a:lvl1pPr>
    </p:titleStyle>
    <p:bodyStyle>
      <a:lvl1pPr marL="0" indent="0" algn="l" defTabSz="914400" rtl="0" eaLnBrk="1" latinLnBrk="0" hangingPunct="1">
        <a:spcBef>
          <a:spcPts val="600"/>
        </a:spcBef>
        <a:spcAft>
          <a:spcPts val="600"/>
        </a:spcAft>
        <a:buFontTx/>
        <a:buNone/>
        <a:defRPr sz="1800" kern="1200">
          <a:solidFill>
            <a:schemeClr val="bg2"/>
          </a:solidFill>
          <a:latin typeface="+mn-lt"/>
          <a:ea typeface="+mn-ea"/>
          <a:cs typeface="Arial" panose="020B0604020202020204" pitchFamily="34" charset="0"/>
        </a:defRPr>
      </a:lvl1pPr>
      <a:lvl2pPr marL="0" indent="0" algn="l" defTabSz="914400" rtl="0" eaLnBrk="1" latinLnBrk="0" hangingPunct="1">
        <a:spcBef>
          <a:spcPts val="0"/>
        </a:spcBef>
        <a:spcAft>
          <a:spcPts val="600"/>
        </a:spcAft>
        <a:buClr>
          <a:schemeClr val="tx2"/>
        </a:buClr>
        <a:buFont typeface="Arial" panose="020B0604020202020204" pitchFamily="34" charset="0"/>
        <a:buNone/>
        <a:defRPr sz="1600" kern="1200">
          <a:solidFill>
            <a:schemeClr val="tx2"/>
          </a:solidFill>
          <a:latin typeface="+mn-lt"/>
          <a:ea typeface="+mn-ea"/>
          <a:cs typeface="Arial" panose="020B0604020202020204" pitchFamily="34" charset="0"/>
        </a:defRPr>
      </a:lvl2pPr>
      <a:lvl3pPr marL="179388" indent="-179388" algn="l" defTabSz="914400" rtl="0" eaLnBrk="1" latinLnBrk="0" hangingPunct="1">
        <a:spcBef>
          <a:spcPts val="0"/>
        </a:spcBef>
        <a:spcAft>
          <a:spcPts val="600"/>
        </a:spcAft>
        <a:buClr>
          <a:schemeClr val="bg2"/>
        </a:buClr>
        <a:buFont typeface="Arial" panose="020B0604020202020204" pitchFamily="34" charset="0"/>
        <a:buChar char="•"/>
        <a:defRPr sz="1600" kern="1200">
          <a:solidFill>
            <a:schemeClr val="tx2"/>
          </a:solidFill>
          <a:latin typeface="+mn-lt"/>
          <a:ea typeface="+mn-ea"/>
          <a:cs typeface="Arial" panose="020B0604020202020204" pitchFamily="34" charset="0"/>
        </a:defRPr>
      </a:lvl3pPr>
      <a:lvl4pPr marL="360000" indent="-180000" algn="l" defTabSz="914400" rtl="0" eaLnBrk="1" latinLnBrk="0" hangingPunct="1">
        <a:spcBef>
          <a:spcPts val="0"/>
        </a:spcBef>
        <a:spcAft>
          <a:spcPts val="600"/>
        </a:spcAft>
        <a:buClr>
          <a:schemeClr val="tx1"/>
        </a:buClr>
        <a:buFont typeface="Symbol" panose="05050102010706020507" pitchFamily="18" charset="2"/>
        <a:buChar char="-"/>
        <a:defRPr sz="1600" kern="1200">
          <a:solidFill>
            <a:schemeClr val="tx2"/>
          </a:solidFill>
          <a:latin typeface="+mn-lt"/>
          <a:ea typeface="+mn-ea"/>
          <a:cs typeface="Arial" panose="020B0604020202020204" pitchFamily="34" charset="0"/>
        </a:defRPr>
      </a:lvl4pPr>
      <a:lvl5pPr marL="540000" indent="-180000" algn="l" defTabSz="914400" rtl="0" eaLnBrk="1" latinLnBrk="0" hangingPunct="1">
        <a:spcBef>
          <a:spcPts val="0"/>
        </a:spcBef>
        <a:spcAft>
          <a:spcPts val="600"/>
        </a:spcAft>
        <a:buClr>
          <a:schemeClr val="tx1"/>
        </a:buClr>
        <a:buFont typeface="Symbol" panose="05050102010706020507" pitchFamily="18" charset="2"/>
        <a:buChar char="-"/>
        <a:defRPr sz="1600" kern="1200">
          <a:solidFill>
            <a:schemeClr val="tx2"/>
          </a:solidFill>
          <a:latin typeface="+mn-lt"/>
          <a:ea typeface="+mn-ea"/>
          <a:cs typeface="Arial" panose="020B0604020202020204" pitchFamily="34" charset="0"/>
        </a:defRPr>
      </a:lvl5pPr>
      <a:lvl6pPr marL="720000" indent="-180000" algn="l" defTabSz="914400" rtl="0" eaLnBrk="1" latinLnBrk="0" hangingPunct="1">
        <a:spcBef>
          <a:spcPts val="0"/>
        </a:spcBef>
        <a:spcAft>
          <a:spcPts val="600"/>
        </a:spcAft>
        <a:buClr>
          <a:schemeClr val="tx1"/>
        </a:buClr>
        <a:buFont typeface="Symbol" panose="05050102010706020507" pitchFamily="18" charset="2"/>
        <a:buChar char="-"/>
        <a:defRPr sz="1600" kern="1200">
          <a:solidFill>
            <a:schemeClr val="tx2"/>
          </a:solidFill>
          <a:latin typeface="+mn-lt"/>
          <a:ea typeface="+mn-ea"/>
          <a:cs typeface="Arial" panose="020B0604020202020204" pitchFamily="34" charset="0"/>
        </a:defRPr>
      </a:lvl6pPr>
      <a:lvl7pPr marL="720000" indent="-180000" algn="l" defTabSz="914400" rtl="0" eaLnBrk="1" latinLnBrk="0" hangingPunct="1">
        <a:spcBef>
          <a:spcPts val="0"/>
        </a:spcBef>
        <a:spcAft>
          <a:spcPts val="600"/>
        </a:spcAft>
        <a:buClr>
          <a:schemeClr val="tx1"/>
        </a:buClr>
        <a:buFont typeface="Symbol" panose="05050102010706020507" pitchFamily="18" charset="2"/>
        <a:buChar char="-"/>
        <a:defRPr sz="1600" kern="1200">
          <a:solidFill>
            <a:schemeClr val="tx2"/>
          </a:solidFill>
          <a:latin typeface="+mn-lt"/>
          <a:ea typeface="+mn-ea"/>
          <a:cs typeface="Arial" panose="020B0604020202020204" pitchFamily="34" charset="0"/>
        </a:defRPr>
      </a:lvl7pPr>
      <a:lvl8pPr marL="720000" indent="-180000" algn="l" defTabSz="914400" rtl="0" eaLnBrk="1" latinLnBrk="0" hangingPunct="1">
        <a:spcBef>
          <a:spcPts val="0"/>
        </a:spcBef>
        <a:spcAft>
          <a:spcPts val="600"/>
        </a:spcAft>
        <a:buClr>
          <a:schemeClr val="tx1"/>
        </a:buClr>
        <a:buFont typeface="Symbol" panose="05050102010706020507" pitchFamily="18" charset="2"/>
        <a:buChar char="-"/>
        <a:defRPr sz="1600" kern="1200">
          <a:solidFill>
            <a:schemeClr val="tx2"/>
          </a:solidFill>
          <a:latin typeface="+mn-lt"/>
          <a:ea typeface="+mn-ea"/>
          <a:cs typeface="Arial" panose="020B0604020202020204" pitchFamily="34" charset="0"/>
        </a:defRPr>
      </a:lvl8pPr>
      <a:lvl9pPr marL="720000" indent="-180000" algn="l" defTabSz="914400" rtl="0" eaLnBrk="1" latinLnBrk="0" hangingPunct="1">
        <a:spcBef>
          <a:spcPts val="0"/>
        </a:spcBef>
        <a:spcAft>
          <a:spcPts val="600"/>
        </a:spcAft>
        <a:buClr>
          <a:schemeClr val="tx1"/>
        </a:buClr>
        <a:buFont typeface="Symbol" panose="05050102010706020507" pitchFamily="18" charset="2"/>
        <a:buChar char="-"/>
        <a:defRPr sz="1600" kern="1200">
          <a:solidFill>
            <a:schemeClr val="tx2"/>
          </a:solidFill>
          <a:latin typeface="+mn-lt"/>
          <a:ea typeface="+mn-ea"/>
          <a:cs typeface="Arial" panose="020B0604020202020204"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22.xml"/><Relationship Id="rId4" Type="http://schemas.openxmlformats.org/officeDocument/2006/relationships/image" Target="../media/image109.png"/></Relationships>
</file>

<file path=ppt/slides/_rels/slide11.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25.jpeg"/><Relationship Id="rId13" Type="http://schemas.openxmlformats.org/officeDocument/2006/relationships/image" Target="../media/image30.jpeg"/><Relationship Id="rId3" Type="http://schemas.openxmlformats.org/officeDocument/2006/relationships/image" Target="../media/image20.jpeg"/><Relationship Id="rId7" Type="http://schemas.openxmlformats.org/officeDocument/2006/relationships/image" Target="../media/image24.jpeg"/><Relationship Id="rId12" Type="http://schemas.openxmlformats.org/officeDocument/2006/relationships/image" Target="../media/image29.jpe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23.jpeg"/><Relationship Id="rId11" Type="http://schemas.openxmlformats.org/officeDocument/2006/relationships/image" Target="../media/image28.jpeg"/><Relationship Id="rId5" Type="http://schemas.openxmlformats.org/officeDocument/2006/relationships/image" Target="../media/image22.jpeg"/><Relationship Id="rId10" Type="http://schemas.openxmlformats.org/officeDocument/2006/relationships/image" Target="../media/image27.jpeg"/><Relationship Id="rId4" Type="http://schemas.openxmlformats.org/officeDocument/2006/relationships/image" Target="../media/image21.jpeg"/><Relationship Id="rId9" Type="http://schemas.openxmlformats.org/officeDocument/2006/relationships/image" Target="../media/image26.jpeg"/></Relationships>
</file>

<file path=ppt/slides/_rels/slide3.xml.rels><?xml version="1.0" encoding="UTF-8" standalone="yes"?>
<Relationships xmlns="http://schemas.openxmlformats.org/package/2006/relationships"><Relationship Id="rId8" Type="http://schemas.openxmlformats.org/officeDocument/2006/relationships/image" Target="../media/image37.jpeg"/><Relationship Id="rId13" Type="http://schemas.openxmlformats.org/officeDocument/2006/relationships/image" Target="../media/image42.png"/><Relationship Id="rId18" Type="http://schemas.microsoft.com/office/2007/relationships/hdphoto" Target="../media/hdphoto1.wdp"/><Relationship Id="rId26" Type="http://schemas.openxmlformats.org/officeDocument/2006/relationships/image" Target="../media/image51.png"/><Relationship Id="rId3" Type="http://schemas.openxmlformats.org/officeDocument/2006/relationships/image" Target="../media/image32.jpeg"/><Relationship Id="rId21" Type="http://schemas.openxmlformats.org/officeDocument/2006/relationships/image" Target="../media/image48.png"/><Relationship Id="rId34" Type="http://schemas.openxmlformats.org/officeDocument/2006/relationships/image" Target="../media/image55.png"/><Relationship Id="rId7" Type="http://schemas.openxmlformats.org/officeDocument/2006/relationships/image" Target="../media/image36.jpeg"/><Relationship Id="rId12" Type="http://schemas.openxmlformats.org/officeDocument/2006/relationships/image" Target="../media/image41.png"/><Relationship Id="rId17" Type="http://schemas.openxmlformats.org/officeDocument/2006/relationships/image" Target="../media/image46.png"/><Relationship Id="rId25" Type="http://schemas.openxmlformats.org/officeDocument/2006/relationships/image" Target="../media/image50.jpeg"/><Relationship Id="rId33" Type="http://schemas.microsoft.com/office/2007/relationships/hdphoto" Target="../media/hdphoto8.wdp"/><Relationship Id="rId2" Type="http://schemas.openxmlformats.org/officeDocument/2006/relationships/image" Target="../media/image31.emf"/><Relationship Id="rId16" Type="http://schemas.openxmlformats.org/officeDocument/2006/relationships/image" Target="../media/image45.png"/><Relationship Id="rId20" Type="http://schemas.microsoft.com/office/2007/relationships/hdphoto" Target="../media/hdphoto2.wdp"/><Relationship Id="rId29" Type="http://schemas.microsoft.com/office/2007/relationships/hdphoto" Target="../media/hdphoto6.wdp"/><Relationship Id="rId1" Type="http://schemas.openxmlformats.org/officeDocument/2006/relationships/slideLayout" Target="../slideLayouts/slideLayout9.xml"/><Relationship Id="rId6" Type="http://schemas.openxmlformats.org/officeDocument/2006/relationships/image" Target="../media/image35.jpeg"/><Relationship Id="rId11" Type="http://schemas.openxmlformats.org/officeDocument/2006/relationships/image" Target="../media/image40.jpeg"/><Relationship Id="rId24" Type="http://schemas.microsoft.com/office/2007/relationships/hdphoto" Target="../media/hdphoto4.wdp"/><Relationship Id="rId32" Type="http://schemas.openxmlformats.org/officeDocument/2006/relationships/image" Target="../media/image54.png"/><Relationship Id="rId5" Type="http://schemas.openxmlformats.org/officeDocument/2006/relationships/image" Target="../media/image34.png"/><Relationship Id="rId15" Type="http://schemas.openxmlformats.org/officeDocument/2006/relationships/image" Target="../media/image44.png"/><Relationship Id="rId23" Type="http://schemas.openxmlformats.org/officeDocument/2006/relationships/image" Target="../media/image49.png"/><Relationship Id="rId28" Type="http://schemas.openxmlformats.org/officeDocument/2006/relationships/image" Target="../media/image52.png"/><Relationship Id="rId10" Type="http://schemas.openxmlformats.org/officeDocument/2006/relationships/image" Target="../media/image39.jpeg"/><Relationship Id="rId19" Type="http://schemas.openxmlformats.org/officeDocument/2006/relationships/image" Target="../media/image47.png"/><Relationship Id="rId31" Type="http://schemas.microsoft.com/office/2007/relationships/hdphoto" Target="../media/hdphoto7.wdp"/><Relationship Id="rId4" Type="http://schemas.openxmlformats.org/officeDocument/2006/relationships/image" Target="../media/image33.jpeg"/><Relationship Id="rId9" Type="http://schemas.openxmlformats.org/officeDocument/2006/relationships/image" Target="../media/image38.jpeg"/><Relationship Id="rId14" Type="http://schemas.openxmlformats.org/officeDocument/2006/relationships/image" Target="../media/image43.png"/><Relationship Id="rId22" Type="http://schemas.microsoft.com/office/2007/relationships/hdphoto" Target="../media/hdphoto3.wdp"/><Relationship Id="rId27" Type="http://schemas.microsoft.com/office/2007/relationships/hdphoto" Target="../media/hdphoto5.wdp"/><Relationship Id="rId30" Type="http://schemas.openxmlformats.org/officeDocument/2006/relationships/image" Target="../media/image53.png"/><Relationship Id="rId35" Type="http://schemas.microsoft.com/office/2007/relationships/hdphoto" Target="../media/hdphoto9.wdp"/></Relationships>
</file>

<file path=ppt/slides/_rels/slide4.xml.rels><?xml version="1.0" encoding="UTF-8" standalone="yes"?>
<Relationships xmlns="http://schemas.openxmlformats.org/package/2006/relationships"><Relationship Id="rId8" Type="http://schemas.openxmlformats.org/officeDocument/2006/relationships/image" Target="../media/image61.png"/><Relationship Id="rId13" Type="http://schemas.microsoft.com/office/2007/relationships/hdphoto" Target="../media/hdphoto11.wdp"/><Relationship Id="rId18" Type="http://schemas.openxmlformats.org/officeDocument/2006/relationships/image" Target="../media/image67.jpeg"/><Relationship Id="rId3" Type="http://schemas.openxmlformats.org/officeDocument/2006/relationships/image" Target="../media/image56.png"/><Relationship Id="rId21" Type="http://schemas.openxmlformats.org/officeDocument/2006/relationships/image" Target="../media/image70.jpeg"/><Relationship Id="rId7" Type="http://schemas.openxmlformats.org/officeDocument/2006/relationships/image" Target="../media/image60.jpeg"/><Relationship Id="rId12" Type="http://schemas.openxmlformats.org/officeDocument/2006/relationships/image" Target="../media/image64.png"/><Relationship Id="rId17" Type="http://schemas.microsoft.com/office/2007/relationships/hdphoto" Target="../media/hdphoto13.wdp"/><Relationship Id="rId2" Type="http://schemas.openxmlformats.org/officeDocument/2006/relationships/notesSlide" Target="../notesSlides/notesSlide2.xml"/><Relationship Id="rId16" Type="http://schemas.openxmlformats.org/officeDocument/2006/relationships/image" Target="../media/image66.png"/><Relationship Id="rId20" Type="http://schemas.openxmlformats.org/officeDocument/2006/relationships/image" Target="../media/image69.jpeg"/><Relationship Id="rId1" Type="http://schemas.openxmlformats.org/officeDocument/2006/relationships/slideLayout" Target="../slideLayouts/slideLayout26.xml"/><Relationship Id="rId6" Type="http://schemas.openxmlformats.org/officeDocument/2006/relationships/image" Target="../media/image59.jpeg"/><Relationship Id="rId11" Type="http://schemas.microsoft.com/office/2007/relationships/hdphoto" Target="../media/hdphoto10.wdp"/><Relationship Id="rId5" Type="http://schemas.openxmlformats.org/officeDocument/2006/relationships/image" Target="../media/image58.jpeg"/><Relationship Id="rId15" Type="http://schemas.microsoft.com/office/2007/relationships/hdphoto" Target="../media/hdphoto12.wdp"/><Relationship Id="rId10" Type="http://schemas.openxmlformats.org/officeDocument/2006/relationships/image" Target="../media/image63.png"/><Relationship Id="rId19" Type="http://schemas.openxmlformats.org/officeDocument/2006/relationships/image" Target="../media/image68.png"/><Relationship Id="rId4" Type="http://schemas.openxmlformats.org/officeDocument/2006/relationships/image" Target="../media/image57.png"/><Relationship Id="rId9" Type="http://schemas.openxmlformats.org/officeDocument/2006/relationships/image" Target="../media/image62.png"/><Relationship Id="rId14" Type="http://schemas.openxmlformats.org/officeDocument/2006/relationships/image" Target="../media/image65.png"/></Relationships>
</file>

<file path=ppt/slides/_rels/slide5.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3.xml"/><Relationship Id="rId1" Type="http://schemas.openxmlformats.org/officeDocument/2006/relationships/slideLayout" Target="../slideLayouts/slideLayout23.xml"/><Relationship Id="rId6" Type="http://schemas.openxmlformats.org/officeDocument/2006/relationships/image" Target="../media/image74.png"/><Relationship Id="rId5" Type="http://schemas.openxmlformats.org/officeDocument/2006/relationships/image" Target="../media/image73.png"/><Relationship Id="rId10" Type="http://schemas.openxmlformats.org/officeDocument/2006/relationships/image" Target="../media/image78.png"/><Relationship Id="rId4" Type="http://schemas.openxmlformats.org/officeDocument/2006/relationships/image" Target="../media/image72.jpeg"/><Relationship Id="rId9" Type="http://schemas.openxmlformats.org/officeDocument/2006/relationships/image" Target="../media/image77.png"/></Relationships>
</file>

<file path=ppt/slides/_rels/slide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8" Type="http://schemas.openxmlformats.org/officeDocument/2006/relationships/image" Target="../media/image86.jpeg"/><Relationship Id="rId13" Type="http://schemas.openxmlformats.org/officeDocument/2006/relationships/image" Target="../media/image91.jpeg"/><Relationship Id="rId3" Type="http://schemas.openxmlformats.org/officeDocument/2006/relationships/image" Target="../media/image81.jpeg"/><Relationship Id="rId7" Type="http://schemas.openxmlformats.org/officeDocument/2006/relationships/image" Target="../media/image85.jpeg"/><Relationship Id="rId12" Type="http://schemas.openxmlformats.org/officeDocument/2006/relationships/image" Target="../media/image90.jpeg"/><Relationship Id="rId2" Type="http://schemas.openxmlformats.org/officeDocument/2006/relationships/image" Target="../media/image80.jpeg"/><Relationship Id="rId1" Type="http://schemas.openxmlformats.org/officeDocument/2006/relationships/slideLayout" Target="../slideLayouts/slideLayout8.xml"/><Relationship Id="rId6" Type="http://schemas.openxmlformats.org/officeDocument/2006/relationships/image" Target="../media/image84.jpeg"/><Relationship Id="rId11" Type="http://schemas.openxmlformats.org/officeDocument/2006/relationships/image" Target="../media/image89.jpeg"/><Relationship Id="rId5" Type="http://schemas.openxmlformats.org/officeDocument/2006/relationships/image" Target="../media/image83.jpeg"/><Relationship Id="rId10" Type="http://schemas.openxmlformats.org/officeDocument/2006/relationships/image" Target="../media/image88.jpeg"/><Relationship Id="rId4" Type="http://schemas.openxmlformats.org/officeDocument/2006/relationships/image" Target="../media/image82.jpeg"/><Relationship Id="rId9" Type="http://schemas.openxmlformats.org/officeDocument/2006/relationships/image" Target="../media/image87.jpeg"/></Relationships>
</file>

<file path=ppt/slides/_rels/slide8.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4.xml"/><Relationship Id="rId1" Type="http://schemas.openxmlformats.org/officeDocument/2006/relationships/slideLayout" Target="../slideLayouts/slideLayout15.xml"/><Relationship Id="rId4" Type="http://schemas.openxmlformats.org/officeDocument/2006/relationships/image" Target="../media/image93.png"/></Relationships>
</file>

<file path=ppt/slides/_rels/slide9.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04.jpg"/><Relationship Id="rId3" Type="http://schemas.openxmlformats.org/officeDocument/2006/relationships/image" Target="../media/image94.jpeg"/><Relationship Id="rId7" Type="http://schemas.openxmlformats.org/officeDocument/2006/relationships/image" Target="../media/image98.png"/><Relationship Id="rId12" Type="http://schemas.openxmlformats.org/officeDocument/2006/relationships/image" Target="../media/image103.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97.jpeg"/><Relationship Id="rId11" Type="http://schemas.openxmlformats.org/officeDocument/2006/relationships/image" Target="../media/image102.png"/><Relationship Id="rId5" Type="http://schemas.openxmlformats.org/officeDocument/2006/relationships/image" Target="../media/image96.jpg"/><Relationship Id="rId15" Type="http://schemas.openxmlformats.org/officeDocument/2006/relationships/image" Target="../media/image106.PNG"/><Relationship Id="rId10" Type="http://schemas.openxmlformats.org/officeDocument/2006/relationships/image" Target="../media/image101.png"/><Relationship Id="rId4" Type="http://schemas.openxmlformats.org/officeDocument/2006/relationships/image" Target="../media/image95.png"/><Relationship Id="rId9" Type="http://schemas.openxmlformats.org/officeDocument/2006/relationships/image" Target="../media/image100.png"/><Relationship Id="rId14" Type="http://schemas.openxmlformats.org/officeDocument/2006/relationships/image" Target="../media/image10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a:extLst>
              <a:ext uri="{FF2B5EF4-FFF2-40B4-BE49-F238E27FC236}">
                <a16:creationId xmlns:a16="http://schemas.microsoft.com/office/drawing/2014/main" id="{59B695E8-2147-2579-FC89-B0E4B5557C2A}"/>
              </a:ext>
            </a:extLst>
          </p:cNvPr>
          <p:cNvSpPr>
            <a:spLocks noGrp="1"/>
          </p:cNvSpPr>
          <p:nvPr>
            <p:ph type="ctrTitle"/>
          </p:nvPr>
        </p:nvSpPr>
        <p:spPr/>
        <p:txBody>
          <a:bodyPr/>
          <a:lstStyle/>
          <a:p>
            <a:r>
              <a:rPr lang="en-US" altLang="zh-CN" sz="2800"/>
              <a:t>Rice Flour Dry Milling Introduction</a:t>
            </a:r>
            <a:endParaRPr lang="en-US"/>
          </a:p>
        </p:txBody>
      </p:sp>
      <p:sp>
        <p:nvSpPr>
          <p:cNvPr id="4" name="副标题 3">
            <a:extLst>
              <a:ext uri="{FF2B5EF4-FFF2-40B4-BE49-F238E27FC236}">
                <a16:creationId xmlns:a16="http://schemas.microsoft.com/office/drawing/2014/main" id="{C8532893-EE03-89AD-7507-E6052EA2217D}"/>
              </a:ext>
            </a:extLst>
          </p:cNvPr>
          <p:cNvSpPr>
            <a:spLocks noGrp="1"/>
          </p:cNvSpPr>
          <p:nvPr>
            <p:ph type="subTitle" idx="1"/>
          </p:nvPr>
        </p:nvSpPr>
        <p:spPr/>
        <p:txBody>
          <a:bodyPr/>
          <a:lstStyle/>
          <a:p>
            <a:r>
              <a:rPr lang="zh-CN" altLang="en-US" dirty="0"/>
              <a:t>朱晓月 </a:t>
            </a:r>
            <a:r>
              <a:rPr lang="en-US" altLang="zh-CN" dirty="0"/>
              <a:t>Arena Zhu,</a:t>
            </a:r>
            <a:r>
              <a:rPr lang="zh-CN" altLang="en-US" dirty="0"/>
              <a:t> </a:t>
            </a:r>
            <a:r>
              <a:rPr lang="en-US" altLang="zh-CN" dirty="0"/>
              <a:t>Process</a:t>
            </a:r>
            <a:r>
              <a:rPr lang="zh-CN" altLang="en-US" dirty="0"/>
              <a:t> </a:t>
            </a:r>
            <a:r>
              <a:rPr lang="en-US" altLang="zh-CN" dirty="0"/>
              <a:t>Innovation</a:t>
            </a:r>
            <a:r>
              <a:rPr lang="zh-CN" altLang="en-US" dirty="0"/>
              <a:t> </a:t>
            </a:r>
            <a:r>
              <a:rPr lang="en-US" altLang="zh-CN" dirty="0"/>
              <a:t>Manager</a:t>
            </a:r>
          </a:p>
        </p:txBody>
      </p:sp>
      <p:sp>
        <p:nvSpPr>
          <p:cNvPr id="2" name="Fußzeilenplatzhalter 1">
            <a:extLst>
              <a:ext uri="{FF2B5EF4-FFF2-40B4-BE49-F238E27FC236}">
                <a16:creationId xmlns:a16="http://schemas.microsoft.com/office/drawing/2014/main" id="{41045F82-3F2E-4F8D-8D0C-898F1EAC2EFD}"/>
              </a:ext>
            </a:extLst>
          </p:cNvPr>
          <p:cNvSpPr>
            <a:spLocks noGrp="1"/>
          </p:cNvSpPr>
          <p:nvPr>
            <p:ph type="ftr" sz="quarter" idx="10"/>
          </p:nvPr>
        </p:nvSpPr>
        <p:spPr/>
        <p:txBody>
          <a:bodyPr/>
          <a:lstStyle/>
          <a:p>
            <a:r>
              <a:rPr lang="en-US"/>
              <a:t>Footer of the presentation</a:t>
            </a:r>
          </a:p>
        </p:txBody>
      </p:sp>
      <p:sp>
        <p:nvSpPr>
          <p:cNvPr id="3" name="Foliennummernplatzhalter 2">
            <a:extLst>
              <a:ext uri="{FF2B5EF4-FFF2-40B4-BE49-F238E27FC236}">
                <a16:creationId xmlns:a16="http://schemas.microsoft.com/office/drawing/2014/main" id="{00DF8056-6B85-4A91-BC4B-8C8863814800}"/>
              </a:ext>
            </a:extLst>
          </p:cNvPr>
          <p:cNvSpPr>
            <a:spLocks noGrp="1"/>
          </p:cNvSpPr>
          <p:nvPr>
            <p:ph type="sldNum" sz="quarter" idx="11"/>
          </p:nvPr>
        </p:nvSpPr>
        <p:spPr/>
        <p:txBody>
          <a:bodyPr/>
          <a:lstStyle/>
          <a:p>
            <a:fld id="{0D1F56E0-B6F6-48D7-9539-F293D99B01ED}" type="slidenum">
              <a:rPr lang="en-US" smtClean="0"/>
              <a:pPr/>
              <a:t>1</a:t>
            </a:fld>
            <a:endParaRPr lang="en-US"/>
          </a:p>
        </p:txBody>
      </p:sp>
    </p:spTree>
    <p:extLst>
      <p:ext uri="{BB962C8B-B14F-4D97-AF65-F5344CB8AC3E}">
        <p14:creationId xmlns:p14="http://schemas.microsoft.com/office/powerpoint/2010/main" val="9816496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3CD19C5-94FE-3591-3A5A-18EC86351BE5}"/>
              </a:ext>
            </a:extLst>
          </p:cNvPr>
          <p:cNvSpPr>
            <a:spLocks noGrp="1"/>
          </p:cNvSpPr>
          <p:nvPr>
            <p:ph type="title"/>
          </p:nvPr>
        </p:nvSpPr>
        <p:spPr/>
        <p:txBody>
          <a:bodyPr/>
          <a:lstStyle/>
          <a:p>
            <a:r>
              <a:rPr lang="en-US"/>
              <a:t>Imagineering the Future</a:t>
            </a:r>
          </a:p>
        </p:txBody>
      </p:sp>
      <p:sp>
        <p:nvSpPr>
          <p:cNvPr id="5" name="内容占位符 4">
            <a:extLst>
              <a:ext uri="{FF2B5EF4-FFF2-40B4-BE49-F238E27FC236}">
                <a16:creationId xmlns:a16="http://schemas.microsoft.com/office/drawing/2014/main" id="{E4FF4190-9643-DFEB-514D-2785272AF3AF}"/>
              </a:ext>
            </a:extLst>
          </p:cNvPr>
          <p:cNvSpPr>
            <a:spLocks noGrp="1"/>
          </p:cNvSpPr>
          <p:nvPr>
            <p:ph idx="1"/>
          </p:nvPr>
        </p:nvSpPr>
        <p:spPr/>
        <p:txBody>
          <a:bodyPr/>
          <a:lstStyle/>
          <a:p>
            <a:r>
              <a:rPr lang="en-US" sz="1600" dirty="0">
                <a:solidFill>
                  <a:schemeClr val="tx2"/>
                </a:solidFill>
              </a:rPr>
              <a:t>Colored Rice is the brown rice which the seed coat and pericarp contain pigment.</a:t>
            </a:r>
          </a:p>
          <a:p>
            <a:pPr marL="285750" indent="-285750">
              <a:buFont typeface="Arial" panose="020B0604020202020204" pitchFamily="34" charset="0"/>
              <a:buChar char="•"/>
            </a:pPr>
            <a:r>
              <a:rPr lang="en-US" altLang="zh-CN" sz="1600" dirty="0">
                <a:solidFill>
                  <a:schemeClr val="tx2"/>
                </a:solidFill>
              </a:rPr>
              <a:t>High protein content</a:t>
            </a:r>
          </a:p>
          <a:p>
            <a:pPr marL="285750" indent="-285750">
              <a:buFont typeface="Arial" panose="020B0604020202020204" pitchFamily="34" charset="0"/>
              <a:buChar char="•"/>
            </a:pPr>
            <a:r>
              <a:rPr lang="en-US" altLang="zh-CN" sz="1600" dirty="0">
                <a:solidFill>
                  <a:schemeClr val="tx2"/>
                </a:solidFill>
              </a:rPr>
              <a:t>High amino acid content</a:t>
            </a:r>
          </a:p>
          <a:p>
            <a:pPr marL="285750" indent="-285750">
              <a:buFont typeface="Arial" panose="020B0604020202020204" pitchFamily="34" charset="0"/>
              <a:buChar char="•"/>
            </a:pPr>
            <a:r>
              <a:rPr lang="en-US" altLang="de-DE" sz="1600" dirty="0">
                <a:solidFill>
                  <a:schemeClr val="tx2"/>
                </a:solidFill>
              </a:rPr>
              <a:t>High fat content</a:t>
            </a:r>
          </a:p>
          <a:p>
            <a:pPr marL="285750" indent="-285750">
              <a:buFont typeface="Arial" panose="020B0604020202020204" pitchFamily="34" charset="0"/>
              <a:buChar char="•"/>
            </a:pPr>
            <a:r>
              <a:rPr lang="en-US" altLang="de-DE" sz="1600" dirty="0">
                <a:solidFill>
                  <a:schemeClr val="tx2"/>
                </a:solidFill>
              </a:rPr>
              <a:t>High dietary fiber</a:t>
            </a:r>
          </a:p>
        </p:txBody>
      </p:sp>
      <p:sp>
        <p:nvSpPr>
          <p:cNvPr id="3" name="页脚占位符 2">
            <a:extLst>
              <a:ext uri="{FF2B5EF4-FFF2-40B4-BE49-F238E27FC236}">
                <a16:creationId xmlns:a16="http://schemas.microsoft.com/office/drawing/2014/main" id="{EFA37AB5-C255-83B9-1BC4-9C84FFDCEC7C}"/>
              </a:ext>
            </a:extLst>
          </p:cNvPr>
          <p:cNvSpPr>
            <a:spLocks noGrp="1"/>
          </p:cNvSpPr>
          <p:nvPr>
            <p:ph type="ftr" sz="quarter" idx="10"/>
          </p:nvPr>
        </p:nvSpPr>
        <p:spPr/>
        <p:txBody>
          <a:bodyPr/>
          <a:lstStyle/>
          <a:p>
            <a:r>
              <a:rPr lang="en-US"/>
              <a:t>Buhler Rice FLour Dry Milling Solution |  Buhler GF-Food</a:t>
            </a:r>
          </a:p>
        </p:txBody>
      </p:sp>
      <p:sp>
        <p:nvSpPr>
          <p:cNvPr id="4" name="灯片编号占位符 3">
            <a:extLst>
              <a:ext uri="{FF2B5EF4-FFF2-40B4-BE49-F238E27FC236}">
                <a16:creationId xmlns:a16="http://schemas.microsoft.com/office/drawing/2014/main" id="{60A0C3EF-08A2-74DA-B76D-AC08201AAEDB}"/>
              </a:ext>
            </a:extLst>
          </p:cNvPr>
          <p:cNvSpPr>
            <a:spLocks noGrp="1"/>
          </p:cNvSpPr>
          <p:nvPr>
            <p:ph type="sldNum" sz="quarter" idx="11"/>
          </p:nvPr>
        </p:nvSpPr>
        <p:spPr/>
        <p:txBody>
          <a:bodyPr/>
          <a:lstStyle/>
          <a:p>
            <a:fld id="{0D1F56E0-B6F6-48D7-9539-F293D99B01ED}" type="slidenum">
              <a:rPr lang="en-US" smtClean="0"/>
              <a:pPr/>
              <a:t>10</a:t>
            </a:fld>
            <a:endParaRPr lang="en-US"/>
          </a:p>
        </p:txBody>
      </p:sp>
      <p:sp>
        <p:nvSpPr>
          <p:cNvPr id="6" name="内容占位符 5">
            <a:extLst>
              <a:ext uri="{FF2B5EF4-FFF2-40B4-BE49-F238E27FC236}">
                <a16:creationId xmlns:a16="http://schemas.microsoft.com/office/drawing/2014/main" id="{D80C8F7A-CB17-419E-4E6E-D9D97FE99DDD}"/>
              </a:ext>
            </a:extLst>
          </p:cNvPr>
          <p:cNvSpPr>
            <a:spLocks noGrp="1"/>
          </p:cNvSpPr>
          <p:nvPr>
            <p:ph idx="12"/>
          </p:nvPr>
        </p:nvSpPr>
        <p:spPr/>
        <p:txBody>
          <a:bodyPr/>
          <a:lstStyle/>
          <a:p>
            <a:r>
              <a:rPr lang="en-US" sz="1600">
                <a:solidFill>
                  <a:schemeClr val="tx2"/>
                </a:solidFill>
              </a:rPr>
              <a:t>Parboiling is a hydrothermal treatment applied to paddy rice that causes starch gelatinization and consequently changes of rice properties.</a:t>
            </a:r>
          </a:p>
          <a:p>
            <a:pPr marL="285750" indent="-285750">
              <a:buFont typeface="Arial" panose="020B0604020202020204" pitchFamily="34" charset="0"/>
              <a:buChar char="•"/>
            </a:pPr>
            <a:r>
              <a:rPr lang="en-US" altLang="zh-CN" sz="1600">
                <a:solidFill>
                  <a:schemeClr val="tx1"/>
                </a:solidFill>
              </a:rPr>
              <a:t>Higher nutritional value (vitamins and minerals)</a:t>
            </a:r>
          </a:p>
          <a:p>
            <a:pPr marL="285750" indent="-285750">
              <a:buFont typeface="Arial" panose="020B0604020202020204" pitchFamily="34" charset="0"/>
              <a:buChar char="•"/>
            </a:pPr>
            <a:r>
              <a:rPr lang="en-US" altLang="zh-CN" sz="1600">
                <a:solidFill>
                  <a:schemeClr val="tx1"/>
                </a:solidFill>
              </a:rPr>
              <a:t>Extended shelf life</a:t>
            </a:r>
          </a:p>
          <a:p>
            <a:pPr marL="285750" indent="-285750">
              <a:buFont typeface="Arial" panose="020B0604020202020204" pitchFamily="34" charset="0"/>
              <a:buChar char="•"/>
            </a:pPr>
            <a:r>
              <a:rPr lang="en-US" altLang="zh-CN" sz="1600">
                <a:solidFill>
                  <a:schemeClr val="tx1"/>
                </a:solidFill>
              </a:rPr>
              <a:t>Contain more fat</a:t>
            </a:r>
            <a:endParaRPr lang="en-US" sz="1600">
              <a:solidFill>
                <a:schemeClr val="tx2"/>
              </a:solidFill>
            </a:endParaRPr>
          </a:p>
          <a:p>
            <a:endParaRPr lang="en-US"/>
          </a:p>
        </p:txBody>
      </p:sp>
      <p:sp>
        <p:nvSpPr>
          <p:cNvPr id="7" name="内容占位符 6">
            <a:extLst>
              <a:ext uri="{FF2B5EF4-FFF2-40B4-BE49-F238E27FC236}">
                <a16:creationId xmlns:a16="http://schemas.microsoft.com/office/drawing/2014/main" id="{8260D46D-C519-AF7C-434C-827068B7A1E1}"/>
              </a:ext>
            </a:extLst>
          </p:cNvPr>
          <p:cNvSpPr>
            <a:spLocks noGrp="1"/>
          </p:cNvSpPr>
          <p:nvPr>
            <p:ph idx="13"/>
          </p:nvPr>
        </p:nvSpPr>
        <p:spPr/>
        <p:txBody>
          <a:bodyPr/>
          <a:lstStyle/>
          <a:p>
            <a:r>
              <a:rPr lang="en-US" sz="1600">
                <a:solidFill>
                  <a:schemeClr val="tx2"/>
                </a:solidFill>
              </a:rPr>
              <a:t>Germinated Brown Rice is the brown rice being soaked under water under suitable condition to favor germination:</a:t>
            </a:r>
          </a:p>
          <a:p>
            <a:pPr marL="285750" indent="-285750">
              <a:buFont typeface="Arial" panose="020B0604020202020204" pitchFamily="34" charset="0"/>
              <a:buChar char="•"/>
            </a:pPr>
            <a:r>
              <a:rPr lang="en-US" sz="1600">
                <a:solidFill>
                  <a:schemeClr val="tx1"/>
                </a:solidFill>
              </a:rPr>
              <a:t>Increase in simple sugars </a:t>
            </a:r>
          </a:p>
          <a:p>
            <a:pPr marL="285750" indent="-285750">
              <a:buFont typeface="Arial" panose="020B0604020202020204" pitchFamily="34" charset="0"/>
              <a:buChar char="•"/>
            </a:pPr>
            <a:r>
              <a:rPr lang="en-US" sz="1600">
                <a:solidFill>
                  <a:schemeClr val="tx1"/>
                </a:solidFill>
              </a:rPr>
              <a:t>Natural enzymes become expressed</a:t>
            </a:r>
          </a:p>
          <a:p>
            <a:pPr marL="285750" indent="-285750">
              <a:buFont typeface="Arial" panose="020B0604020202020204" pitchFamily="34" charset="0"/>
              <a:buChar char="•"/>
            </a:pPr>
            <a:r>
              <a:rPr lang="en-US" sz="1600">
                <a:solidFill>
                  <a:schemeClr val="tx1"/>
                </a:solidFill>
              </a:rPr>
              <a:t>Improved minerals</a:t>
            </a:r>
          </a:p>
          <a:p>
            <a:pPr marL="285750" indent="-285750">
              <a:buFont typeface="Arial" panose="020B0604020202020204" pitchFamily="34" charset="0"/>
              <a:buChar char="•"/>
            </a:pPr>
            <a:r>
              <a:rPr lang="en-US" sz="1600">
                <a:solidFill>
                  <a:schemeClr val="tx1"/>
                </a:solidFill>
              </a:rPr>
              <a:t>Improved vitamins</a:t>
            </a:r>
          </a:p>
          <a:p>
            <a:endParaRPr lang="en-US"/>
          </a:p>
        </p:txBody>
      </p:sp>
      <p:pic>
        <p:nvPicPr>
          <p:cNvPr id="11" name="图片占位符 10">
            <a:extLst>
              <a:ext uri="{FF2B5EF4-FFF2-40B4-BE49-F238E27FC236}">
                <a16:creationId xmlns:a16="http://schemas.microsoft.com/office/drawing/2014/main" id="{7AAB4357-26C7-2D31-C5A7-781EBAB4F2F8}"/>
              </a:ext>
            </a:extLst>
          </p:cNvPr>
          <p:cNvPicPr>
            <a:picLocks noGrp="1" noChangeAspect="1"/>
          </p:cNvPicPr>
          <p:nvPr>
            <p:ph type="pic" sz="quarter" idx="14"/>
          </p:nvPr>
        </p:nvPicPr>
        <p:blipFill>
          <a:blip r:embed="rId2"/>
          <a:srcRect t="5556" b="5556"/>
          <a:stretch>
            <a:fillRect/>
          </a:stretch>
        </p:blipFill>
        <p:spPr>
          <a:prstGeom prst="rect">
            <a:avLst/>
          </a:prstGeom>
        </p:spPr>
      </p:pic>
      <p:pic>
        <p:nvPicPr>
          <p:cNvPr id="12" name="图片占位符 11">
            <a:extLst>
              <a:ext uri="{FF2B5EF4-FFF2-40B4-BE49-F238E27FC236}">
                <a16:creationId xmlns:a16="http://schemas.microsoft.com/office/drawing/2014/main" id="{6265A174-9DA5-89FD-3A23-46198DA9F2D0}"/>
              </a:ext>
            </a:extLst>
          </p:cNvPr>
          <p:cNvPicPr>
            <a:picLocks noGrp="1" noChangeAspect="1"/>
          </p:cNvPicPr>
          <p:nvPr>
            <p:ph type="pic" sz="quarter" idx="15"/>
          </p:nvPr>
        </p:nvPicPr>
        <p:blipFill>
          <a:blip r:embed="rId3"/>
          <a:srcRect t="5551" b="5551"/>
          <a:stretch>
            <a:fillRect/>
          </a:stretch>
        </p:blipFill>
        <p:spPr>
          <a:prstGeom prst="rect">
            <a:avLst/>
          </a:prstGeom>
        </p:spPr>
      </p:pic>
      <p:pic>
        <p:nvPicPr>
          <p:cNvPr id="13" name="图片占位符 12">
            <a:extLst>
              <a:ext uri="{FF2B5EF4-FFF2-40B4-BE49-F238E27FC236}">
                <a16:creationId xmlns:a16="http://schemas.microsoft.com/office/drawing/2014/main" id="{C072B9D4-5B5C-6EA1-DF1E-70E9FC8977DA}"/>
              </a:ext>
            </a:extLst>
          </p:cNvPr>
          <p:cNvPicPr>
            <a:picLocks noGrp="1" noChangeAspect="1"/>
          </p:cNvPicPr>
          <p:nvPr>
            <p:ph type="pic" sz="quarter" idx="16"/>
          </p:nvPr>
        </p:nvPicPr>
        <p:blipFill>
          <a:blip r:embed="rId4"/>
          <a:srcRect t="6230" b="6230"/>
          <a:stretch>
            <a:fillRect/>
          </a:stretch>
        </p:blipFill>
        <p:spPr>
          <a:prstGeom prst="rect">
            <a:avLst/>
          </a:prstGeom>
        </p:spPr>
      </p:pic>
    </p:spTree>
    <p:extLst>
      <p:ext uri="{BB962C8B-B14F-4D97-AF65-F5344CB8AC3E}">
        <p14:creationId xmlns:p14="http://schemas.microsoft.com/office/powerpoint/2010/main" val="4430658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9E78CC9-F1A5-4329-B94A-2B516E999A3D}"/>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678987" y="152400"/>
            <a:ext cx="2363576" cy="2363576"/>
          </a:xfrm>
          <a:prstGeom prst="rect">
            <a:avLst/>
          </a:prstGeom>
        </p:spPr>
      </p:pic>
      <p:sp>
        <p:nvSpPr>
          <p:cNvPr id="3" name="页脚占位符 2">
            <a:extLst>
              <a:ext uri="{FF2B5EF4-FFF2-40B4-BE49-F238E27FC236}">
                <a16:creationId xmlns:a16="http://schemas.microsoft.com/office/drawing/2014/main" id="{34B50616-1829-26B0-D7F6-6117AF382E83}"/>
              </a:ext>
            </a:extLst>
          </p:cNvPr>
          <p:cNvSpPr>
            <a:spLocks noGrp="1"/>
          </p:cNvSpPr>
          <p:nvPr>
            <p:ph type="ftr" sz="quarter" idx="10"/>
          </p:nvPr>
        </p:nvSpPr>
        <p:spPr/>
        <p:txBody>
          <a:bodyPr/>
          <a:lstStyle/>
          <a:p>
            <a:r>
              <a:rPr lang="en-US" altLang="zh-CN"/>
              <a:t>Buhler Rice FLour Dry Milling Solution |  Buhler GF-Food</a:t>
            </a:r>
            <a:endParaRPr lang="en-US"/>
          </a:p>
        </p:txBody>
      </p:sp>
    </p:spTree>
    <p:extLst>
      <p:ext uri="{BB962C8B-B14F-4D97-AF65-F5344CB8AC3E}">
        <p14:creationId xmlns:p14="http://schemas.microsoft.com/office/powerpoint/2010/main" val="17087011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2" name="Picture 18"/>
          <p:cNvPicPr>
            <a:picLocks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5433862" y="4325617"/>
            <a:ext cx="2139518" cy="2131599"/>
          </a:xfrm>
          <a:prstGeom prst="rect">
            <a:avLst/>
          </a:prstGeom>
          <a:noFill/>
          <a:extLst>
            <a:ext uri="{909E8E84-426E-40DD-AFC4-6F175D3DCCD1}">
              <a14:hiddenFill xmlns:a14="http://schemas.microsoft.com/office/drawing/2010/main">
                <a:solidFill>
                  <a:srgbClr val="FFFFFF"/>
                </a:solidFill>
              </a14:hiddenFill>
            </a:ext>
          </a:extLst>
        </p:spPr>
      </p:pic>
      <p:pic>
        <p:nvPicPr>
          <p:cNvPr id="4" name="Grafik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009088" y="1056737"/>
            <a:ext cx="1745816" cy="2194729"/>
          </a:xfrm>
          <a:prstGeom prst="rect">
            <a:avLst/>
          </a:prstGeom>
        </p:spPr>
      </p:pic>
      <p:pic>
        <p:nvPicPr>
          <p:cNvPr id="1029" name="Picture 5"/>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t="-218"/>
          <a:stretch/>
        </p:blipFill>
        <p:spPr bwMode="auto">
          <a:xfrm>
            <a:off x="4094551" y="1056737"/>
            <a:ext cx="2800649" cy="2180237"/>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Gerade Verbindung 12"/>
          <p:cNvCxnSpPr/>
          <p:nvPr/>
        </p:nvCxnSpPr>
        <p:spPr>
          <a:xfrm>
            <a:off x="203091" y="3813083"/>
            <a:ext cx="117720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73" name="Textfeld 72"/>
          <p:cNvSpPr txBox="1"/>
          <p:nvPr/>
        </p:nvSpPr>
        <p:spPr>
          <a:xfrm>
            <a:off x="483174" y="3338526"/>
            <a:ext cx="1439252" cy="215444"/>
          </a:xfrm>
          <a:prstGeom prst="rect">
            <a:avLst/>
          </a:prstGeom>
          <a:noFill/>
        </p:spPr>
        <p:txBody>
          <a:bodyPr wrap="square" lIns="0" tIns="0" rIns="0" bIns="0" rtlCol="0">
            <a:spAutoFit/>
          </a:bodyPr>
          <a:lstStyle/>
          <a:p>
            <a:pPr algn="ctr"/>
            <a:r>
              <a:rPr lang="en-US" sz="1400" b="1">
                <a:solidFill>
                  <a:srgbClr val="00324B"/>
                </a:solidFill>
                <a:cs typeface="Arial" panose="020B0604020202020204" pitchFamily="34" charset="0"/>
              </a:rPr>
              <a:t>06:30</a:t>
            </a:r>
          </a:p>
        </p:txBody>
      </p:sp>
      <p:sp>
        <p:nvSpPr>
          <p:cNvPr id="87" name="Textfeld 86"/>
          <p:cNvSpPr txBox="1"/>
          <p:nvPr/>
        </p:nvSpPr>
        <p:spPr>
          <a:xfrm>
            <a:off x="2607302" y="3338526"/>
            <a:ext cx="1439252" cy="215444"/>
          </a:xfrm>
          <a:prstGeom prst="rect">
            <a:avLst/>
          </a:prstGeom>
          <a:noFill/>
        </p:spPr>
        <p:txBody>
          <a:bodyPr wrap="square" lIns="0" tIns="0" rIns="0" bIns="0" rtlCol="0">
            <a:spAutoFit/>
          </a:bodyPr>
          <a:lstStyle/>
          <a:p>
            <a:pPr algn="ctr"/>
            <a:r>
              <a:rPr lang="en-US" sz="1400" b="1">
                <a:solidFill>
                  <a:srgbClr val="00324B"/>
                </a:solidFill>
                <a:cs typeface="Arial" panose="020B0604020202020204" pitchFamily="34" charset="0"/>
              </a:rPr>
              <a:t>07:15</a:t>
            </a:r>
          </a:p>
        </p:txBody>
      </p:sp>
      <p:sp>
        <p:nvSpPr>
          <p:cNvPr id="88" name="Textfeld 87"/>
          <p:cNvSpPr txBox="1"/>
          <p:nvPr/>
        </p:nvSpPr>
        <p:spPr>
          <a:xfrm>
            <a:off x="1514471" y="4063617"/>
            <a:ext cx="1439252" cy="215444"/>
          </a:xfrm>
          <a:prstGeom prst="rect">
            <a:avLst/>
          </a:prstGeom>
          <a:noFill/>
        </p:spPr>
        <p:txBody>
          <a:bodyPr wrap="square" lIns="0" tIns="0" rIns="0" bIns="0" rtlCol="0">
            <a:spAutoFit/>
          </a:bodyPr>
          <a:lstStyle/>
          <a:p>
            <a:pPr algn="ctr"/>
            <a:r>
              <a:rPr lang="en-US" sz="1400" b="1">
                <a:solidFill>
                  <a:srgbClr val="00324B"/>
                </a:solidFill>
                <a:cs typeface="Arial" panose="020B0604020202020204" pitchFamily="34" charset="0"/>
              </a:rPr>
              <a:t>07:00</a:t>
            </a:r>
          </a:p>
        </p:txBody>
      </p:sp>
      <p:sp>
        <p:nvSpPr>
          <p:cNvPr id="89" name="Textfeld 88"/>
          <p:cNvSpPr txBox="1"/>
          <p:nvPr/>
        </p:nvSpPr>
        <p:spPr>
          <a:xfrm>
            <a:off x="3628621" y="4063617"/>
            <a:ext cx="1439252" cy="215444"/>
          </a:xfrm>
          <a:prstGeom prst="rect">
            <a:avLst/>
          </a:prstGeom>
          <a:noFill/>
        </p:spPr>
        <p:txBody>
          <a:bodyPr wrap="square" lIns="0" tIns="0" rIns="0" bIns="0" rtlCol="0">
            <a:spAutoFit/>
          </a:bodyPr>
          <a:lstStyle/>
          <a:p>
            <a:pPr algn="ctr"/>
            <a:r>
              <a:rPr lang="en-US" sz="1400" b="1">
                <a:solidFill>
                  <a:srgbClr val="00324B"/>
                </a:solidFill>
                <a:cs typeface="Arial" panose="020B0604020202020204" pitchFamily="34" charset="0"/>
              </a:rPr>
              <a:t>07:30</a:t>
            </a:r>
          </a:p>
        </p:txBody>
      </p:sp>
      <p:sp>
        <p:nvSpPr>
          <p:cNvPr id="90" name="Textfeld 89"/>
          <p:cNvSpPr txBox="1"/>
          <p:nvPr/>
        </p:nvSpPr>
        <p:spPr>
          <a:xfrm>
            <a:off x="4731430" y="3338526"/>
            <a:ext cx="1439252" cy="215444"/>
          </a:xfrm>
          <a:prstGeom prst="rect">
            <a:avLst/>
          </a:prstGeom>
          <a:noFill/>
        </p:spPr>
        <p:txBody>
          <a:bodyPr wrap="square" lIns="0" tIns="0" rIns="0" bIns="0" rtlCol="0">
            <a:spAutoFit/>
          </a:bodyPr>
          <a:lstStyle/>
          <a:p>
            <a:pPr algn="ctr"/>
            <a:r>
              <a:rPr lang="en-US" sz="1400" b="1">
                <a:solidFill>
                  <a:srgbClr val="00324B"/>
                </a:solidFill>
                <a:cs typeface="Arial" panose="020B0604020202020204" pitchFamily="34" charset="0"/>
              </a:rPr>
              <a:t>10:00</a:t>
            </a:r>
          </a:p>
        </p:txBody>
      </p:sp>
      <p:sp>
        <p:nvSpPr>
          <p:cNvPr id="91" name="Textfeld 90"/>
          <p:cNvSpPr txBox="1"/>
          <p:nvPr/>
        </p:nvSpPr>
        <p:spPr>
          <a:xfrm>
            <a:off x="5846099" y="4063617"/>
            <a:ext cx="1439252" cy="215444"/>
          </a:xfrm>
          <a:prstGeom prst="rect">
            <a:avLst/>
          </a:prstGeom>
          <a:noFill/>
        </p:spPr>
        <p:txBody>
          <a:bodyPr wrap="square" lIns="0" tIns="0" rIns="0" bIns="0" rtlCol="0">
            <a:spAutoFit/>
          </a:bodyPr>
          <a:lstStyle/>
          <a:p>
            <a:pPr algn="ctr"/>
            <a:r>
              <a:rPr lang="en-US" sz="1400" b="1">
                <a:solidFill>
                  <a:srgbClr val="00324B"/>
                </a:solidFill>
                <a:cs typeface="Arial" panose="020B0604020202020204" pitchFamily="34" charset="0"/>
              </a:rPr>
              <a:t>12:00</a:t>
            </a:r>
          </a:p>
        </p:txBody>
      </p:sp>
      <p:sp>
        <p:nvSpPr>
          <p:cNvPr id="92" name="Textfeld 91"/>
          <p:cNvSpPr txBox="1"/>
          <p:nvPr/>
        </p:nvSpPr>
        <p:spPr>
          <a:xfrm>
            <a:off x="6950833" y="3338526"/>
            <a:ext cx="1439252" cy="215444"/>
          </a:xfrm>
          <a:prstGeom prst="rect">
            <a:avLst/>
          </a:prstGeom>
          <a:noFill/>
        </p:spPr>
        <p:txBody>
          <a:bodyPr wrap="square" lIns="0" tIns="0" rIns="0" bIns="0" rtlCol="0">
            <a:spAutoFit/>
          </a:bodyPr>
          <a:lstStyle/>
          <a:p>
            <a:pPr algn="ctr"/>
            <a:r>
              <a:rPr lang="en-US" sz="1400" b="1">
                <a:solidFill>
                  <a:srgbClr val="00324B"/>
                </a:solidFill>
                <a:cs typeface="Arial" panose="020B0604020202020204" pitchFamily="34" charset="0"/>
              </a:rPr>
              <a:t>15:00</a:t>
            </a:r>
          </a:p>
        </p:txBody>
      </p:sp>
      <p:sp>
        <p:nvSpPr>
          <p:cNvPr id="93" name="Textfeld 92"/>
          <p:cNvSpPr txBox="1"/>
          <p:nvPr/>
        </p:nvSpPr>
        <p:spPr>
          <a:xfrm>
            <a:off x="8035125" y="4063617"/>
            <a:ext cx="1439252" cy="215444"/>
          </a:xfrm>
          <a:prstGeom prst="rect">
            <a:avLst/>
          </a:prstGeom>
          <a:noFill/>
        </p:spPr>
        <p:txBody>
          <a:bodyPr wrap="square" lIns="0" tIns="0" rIns="0" bIns="0" rtlCol="0">
            <a:spAutoFit/>
          </a:bodyPr>
          <a:lstStyle/>
          <a:p>
            <a:pPr algn="ctr"/>
            <a:r>
              <a:rPr lang="en-US" sz="1400" b="1">
                <a:solidFill>
                  <a:srgbClr val="00324B"/>
                </a:solidFill>
                <a:cs typeface="Arial" panose="020B0604020202020204" pitchFamily="34" charset="0"/>
              </a:rPr>
              <a:t>18:00</a:t>
            </a:r>
          </a:p>
        </p:txBody>
      </p:sp>
      <p:sp>
        <p:nvSpPr>
          <p:cNvPr id="99" name="Textfeld 98"/>
          <p:cNvSpPr txBox="1"/>
          <p:nvPr/>
        </p:nvSpPr>
        <p:spPr>
          <a:xfrm>
            <a:off x="8979686" y="3338526"/>
            <a:ext cx="1439252" cy="215444"/>
          </a:xfrm>
          <a:prstGeom prst="rect">
            <a:avLst/>
          </a:prstGeom>
          <a:noFill/>
        </p:spPr>
        <p:txBody>
          <a:bodyPr wrap="square" lIns="0" tIns="0" rIns="0" bIns="0" rtlCol="0">
            <a:spAutoFit/>
          </a:bodyPr>
          <a:lstStyle/>
          <a:p>
            <a:pPr algn="ctr"/>
            <a:r>
              <a:rPr lang="en-US" sz="1400" b="1">
                <a:solidFill>
                  <a:srgbClr val="00324B"/>
                </a:solidFill>
                <a:cs typeface="Arial" panose="020B0604020202020204" pitchFamily="34" charset="0"/>
              </a:rPr>
              <a:t>19:00</a:t>
            </a:r>
          </a:p>
        </p:txBody>
      </p:sp>
      <p:sp>
        <p:nvSpPr>
          <p:cNvPr id="100" name="Textfeld 99"/>
          <p:cNvSpPr txBox="1"/>
          <p:nvPr/>
        </p:nvSpPr>
        <p:spPr>
          <a:xfrm>
            <a:off x="10118958" y="4063617"/>
            <a:ext cx="1439252" cy="215444"/>
          </a:xfrm>
          <a:prstGeom prst="rect">
            <a:avLst/>
          </a:prstGeom>
          <a:noFill/>
        </p:spPr>
        <p:txBody>
          <a:bodyPr wrap="square" lIns="0" tIns="0" rIns="0" bIns="0" rtlCol="0">
            <a:spAutoFit/>
          </a:bodyPr>
          <a:lstStyle/>
          <a:p>
            <a:pPr algn="ctr"/>
            <a:r>
              <a:rPr lang="en-US" sz="1400" b="1">
                <a:solidFill>
                  <a:srgbClr val="00324B"/>
                </a:solidFill>
                <a:cs typeface="Arial" panose="020B0604020202020204" pitchFamily="34" charset="0"/>
              </a:rPr>
              <a:t>20:00</a:t>
            </a:r>
          </a:p>
        </p:txBody>
      </p:sp>
      <p:grpSp>
        <p:nvGrpSpPr>
          <p:cNvPr id="131" name="Gruppieren 130"/>
          <p:cNvGrpSpPr/>
          <p:nvPr/>
        </p:nvGrpSpPr>
        <p:grpSpPr>
          <a:xfrm>
            <a:off x="10622560" y="3599435"/>
            <a:ext cx="432048" cy="432048"/>
            <a:chOff x="2044804" y="3587729"/>
            <a:chExt cx="432048" cy="432048"/>
          </a:xfrm>
        </p:grpSpPr>
        <p:sp>
          <p:nvSpPr>
            <p:cNvPr id="132" name="Ellipse 131"/>
            <p:cNvSpPr/>
            <p:nvPr/>
          </p:nvSpPr>
          <p:spPr>
            <a:xfrm>
              <a:off x="2044804" y="3587729"/>
              <a:ext cx="432048" cy="432048"/>
            </a:xfrm>
            <a:prstGeom prst="ellipse">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rgbClr val="00324B"/>
                </a:solidFill>
                <a:cs typeface="Arial" panose="020B0604020202020204" pitchFamily="34" charset="0"/>
              </a:endParaRPr>
            </a:p>
          </p:txBody>
        </p:sp>
        <p:sp>
          <p:nvSpPr>
            <p:cNvPr id="133" name="Ellipse 132"/>
            <p:cNvSpPr/>
            <p:nvPr/>
          </p:nvSpPr>
          <p:spPr>
            <a:xfrm>
              <a:off x="2210194" y="3753119"/>
              <a:ext cx="108000" cy="108000"/>
            </a:xfrm>
            <a:prstGeom prst="ellipse">
              <a:avLst/>
            </a:prstGeom>
            <a:solidFill>
              <a:schemeClr val="accent5"/>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chemeClr val="accent5">
                    <a:lumMod val="75000"/>
                  </a:schemeClr>
                </a:solidFill>
                <a:cs typeface="Arial" panose="020B0604020202020204" pitchFamily="34" charset="0"/>
              </a:endParaRPr>
            </a:p>
          </p:txBody>
        </p:sp>
      </p:grpSp>
      <p:sp>
        <p:nvSpPr>
          <p:cNvPr id="3" name="Titel 2"/>
          <p:cNvSpPr>
            <a:spLocks noGrp="1"/>
          </p:cNvSpPr>
          <p:nvPr>
            <p:ph type="title"/>
          </p:nvPr>
        </p:nvSpPr>
        <p:spPr/>
        <p:txBody>
          <a:bodyPr/>
          <a:lstStyle/>
          <a:p>
            <a:r>
              <a:rPr lang="en-US" altLang="zh-CN"/>
              <a:t>Every Day, Billions of People Come into Contact with </a:t>
            </a:r>
            <a:r>
              <a:rPr lang="en-US" altLang="zh-CN" err="1"/>
              <a:t>Bühler</a:t>
            </a:r>
            <a:r>
              <a:rPr lang="en-US" altLang="zh-CN"/>
              <a:t>.</a:t>
            </a:r>
            <a:endParaRPr lang="en-US"/>
          </a:p>
        </p:txBody>
      </p:sp>
      <p:sp>
        <p:nvSpPr>
          <p:cNvPr id="106" name="Footer Placeholder 3">
            <a:extLst>
              <a:ext uri="{FF2B5EF4-FFF2-40B4-BE49-F238E27FC236}">
                <a16:creationId xmlns:a16="http://schemas.microsoft.com/office/drawing/2014/main" id="{DAADDDC7-4352-401E-8C8B-E8A05D523CCD}"/>
              </a:ext>
            </a:extLst>
          </p:cNvPr>
          <p:cNvSpPr>
            <a:spLocks noGrp="1"/>
          </p:cNvSpPr>
          <p:nvPr>
            <p:ph type="ftr" sz="quarter" idx="10"/>
          </p:nvPr>
        </p:nvSpPr>
        <p:spPr/>
        <p:txBody>
          <a:bodyPr/>
          <a:lstStyle/>
          <a:p>
            <a:r>
              <a:rPr lang="en-US" altLang="zh-CN"/>
              <a:t>Buhler Rice FLour Dry Milling Solution |  Buhler GF-Food</a:t>
            </a:r>
            <a:endParaRPr lang="en-US"/>
          </a:p>
        </p:txBody>
      </p:sp>
      <p:pic>
        <p:nvPicPr>
          <p:cNvPr id="5" name="Grafik 4"/>
          <p:cNvPicPr>
            <a:picLocks noChangeAspect="1"/>
          </p:cNvPicPr>
          <p:nvPr/>
        </p:nvPicPr>
        <p:blipFill rotWithShape="1">
          <a:blip r:embed="rId6" cstate="print">
            <a:extLst>
              <a:ext uri="{28A0092B-C50C-407E-A947-70E740481C1C}">
                <a14:useLocalDpi xmlns:a14="http://schemas.microsoft.com/office/drawing/2010/main" val="0"/>
              </a:ext>
            </a:extLst>
          </a:blip>
          <a:srcRect l="39772" t="35879" r="21939" b="7606"/>
          <a:stretch/>
        </p:blipFill>
        <p:spPr>
          <a:xfrm>
            <a:off x="3161647" y="4325617"/>
            <a:ext cx="2177144" cy="2142308"/>
          </a:xfrm>
          <a:prstGeom prst="rect">
            <a:avLst/>
          </a:prstGeom>
        </p:spPr>
      </p:pic>
      <p:pic>
        <p:nvPicPr>
          <p:cNvPr id="7" name="Grafik 6"/>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491402" y="1075853"/>
            <a:ext cx="2115900" cy="2162683"/>
          </a:xfrm>
          <a:prstGeom prst="rect">
            <a:avLst/>
          </a:prstGeom>
        </p:spPr>
      </p:pic>
      <p:pic>
        <p:nvPicPr>
          <p:cNvPr id="10" name="Grafik 9"/>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0169370" y="4325617"/>
            <a:ext cx="1583620" cy="2146207"/>
          </a:xfrm>
          <a:prstGeom prst="rect">
            <a:avLst/>
          </a:prstGeom>
        </p:spPr>
      </p:pic>
      <p:pic>
        <p:nvPicPr>
          <p:cNvPr id="9" name="Grafik 8"/>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2721190" y="1083076"/>
            <a:ext cx="1259473" cy="2166151"/>
          </a:xfrm>
          <a:prstGeom prst="rect">
            <a:avLst/>
          </a:prstGeom>
        </p:spPr>
      </p:pic>
      <p:pic>
        <p:nvPicPr>
          <p:cNvPr id="12" name="Grafik 11"/>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701336" y="4325617"/>
            <a:ext cx="2365240" cy="2141347"/>
          </a:xfrm>
          <a:prstGeom prst="rect">
            <a:avLst/>
          </a:prstGeom>
        </p:spPr>
      </p:pic>
      <p:grpSp>
        <p:nvGrpSpPr>
          <p:cNvPr id="65" name="Gruppieren 64"/>
          <p:cNvGrpSpPr/>
          <p:nvPr/>
        </p:nvGrpSpPr>
        <p:grpSpPr>
          <a:xfrm>
            <a:off x="9483288" y="3599435"/>
            <a:ext cx="432048" cy="432048"/>
            <a:chOff x="2044804" y="3587729"/>
            <a:chExt cx="432048" cy="432048"/>
          </a:xfrm>
        </p:grpSpPr>
        <p:sp>
          <p:nvSpPr>
            <p:cNvPr id="66" name="Ellipse 65"/>
            <p:cNvSpPr/>
            <p:nvPr/>
          </p:nvSpPr>
          <p:spPr>
            <a:xfrm>
              <a:off x="2044804" y="3587729"/>
              <a:ext cx="432048" cy="432048"/>
            </a:xfrm>
            <a:prstGeom prst="ellipse">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rgbClr val="00324B"/>
                </a:solidFill>
                <a:cs typeface="Arial" panose="020B0604020202020204" pitchFamily="34" charset="0"/>
              </a:endParaRPr>
            </a:p>
          </p:txBody>
        </p:sp>
        <p:sp>
          <p:nvSpPr>
            <p:cNvPr id="67" name="Ellipse 66"/>
            <p:cNvSpPr/>
            <p:nvPr/>
          </p:nvSpPr>
          <p:spPr>
            <a:xfrm>
              <a:off x="2210194" y="3753119"/>
              <a:ext cx="108000" cy="108000"/>
            </a:xfrm>
            <a:prstGeom prst="ellipse">
              <a:avLst/>
            </a:prstGeom>
            <a:solidFill>
              <a:schemeClr val="accent5"/>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chemeClr val="accent5">
                    <a:lumMod val="75000"/>
                  </a:schemeClr>
                </a:solidFill>
                <a:cs typeface="Arial" panose="020B0604020202020204" pitchFamily="34" charset="0"/>
              </a:endParaRPr>
            </a:p>
          </p:txBody>
        </p:sp>
      </p:grpSp>
      <p:grpSp>
        <p:nvGrpSpPr>
          <p:cNvPr id="68" name="Gruppieren 67"/>
          <p:cNvGrpSpPr/>
          <p:nvPr/>
        </p:nvGrpSpPr>
        <p:grpSpPr>
          <a:xfrm>
            <a:off x="5235032" y="3599435"/>
            <a:ext cx="432048" cy="432048"/>
            <a:chOff x="2044804" y="3587729"/>
            <a:chExt cx="432048" cy="432048"/>
          </a:xfrm>
        </p:grpSpPr>
        <p:sp>
          <p:nvSpPr>
            <p:cNvPr id="71" name="Ellipse 70"/>
            <p:cNvSpPr/>
            <p:nvPr/>
          </p:nvSpPr>
          <p:spPr>
            <a:xfrm>
              <a:off x="2044804" y="3587729"/>
              <a:ext cx="432048" cy="432048"/>
            </a:xfrm>
            <a:prstGeom prst="ellipse">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rgbClr val="00324B"/>
                </a:solidFill>
                <a:cs typeface="Arial" panose="020B0604020202020204" pitchFamily="34" charset="0"/>
              </a:endParaRPr>
            </a:p>
          </p:txBody>
        </p:sp>
        <p:sp>
          <p:nvSpPr>
            <p:cNvPr id="74" name="Ellipse 73"/>
            <p:cNvSpPr/>
            <p:nvPr/>
          </p:nvSpPr>
          <p:spPr>
            <a:xfrm>
              <a:off x="2210194" y="3753119"/>
              <a:ext cx="108000" cy="108000"/>
            </a:xfrm>
            <a:prstGeom prst="ellipse">
              <a:avLst/>
            </a:prstGeom>
            <a:solidFill>
              <a:schemeClr val="accent5"/>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chemeClr val="accent5">
                    <a:lumMod val="75000"/>
                  </a:schemeClr>
                </a:solidFill>
                <a:cs typeface="Arial" panose="020B0604020202020204" pitchFamily="34" charset="0"/>
              </a:endParaRPr>
            </a:p>
          </p:txBody>
        </p:sp>
      </p:grpSp>
      <p:grpSp>
        <p:nvGrpSpPr>
          <p:cNvPr id="75" name="Gruppieren 74"/>
          <p:cNvGrpSpPr/>
          <p:nvPr/>
        </p:nvGrpSpPr>
        <p:grpSpPr>
          <a:xfrm>
            <a:off x="7454435" y="3599435"/>
            <a:ext cx="432048" cy="432048"/>
            <a:chOff x="2044804" y="3587729"/>
            <a:chExt cx="432048" cy="432048"/>
          </a:xfrm>
        </p:grpSpPr>
        <p:sp>
          <p:nvSpPr>
            <p:cNvPr id="76" name="Ellipse 75"/>
            <p:cNvSpPr/>
            <p:nvPr/>
          </p:nvSpPr>
          <p:spPr>
            <a:xfrm>
              <a:off x="2044804" y="3587729"/>
              <a:ext cx="432048" cy="432048"/>
            </a:xfrm>
            <a:prstGeom prst="ellipse">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rgbClr val="00324B"/>
                </a:solidFill>
                <a:cs typeface="Arial" panose="020B0604020202020204" pitchFamily="34" charset="0"/>
              </a:endParaRPr>
            </a:p>
          </p:txBody>
        </p:sp>
        <p:sp>
          <p:nvSpPr>
            <p:cNvPr id="77" name="Ellipse 76"/>
            <p:cNvSpPr/>
            <p:nvPr/>
          </p:nvSpPr>
          <p:spPr>
            <a:xfrm>
              <a:off x="2210194" y="3753119"/>
              <a:ext cx="108000" cy="108000"/>
            </a:xfrm>
            <a:prstGeom prst="ellipse">
              <a:avLst/>
            </a:prstGeom>
            <a:solidFill>
              <a:schemeClr val="accent5"/>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chemeClr val="accent5">
                    <a:lumMod val="75000"/>
                  </a:schemeClr>
                </a:solidFill>
                <a:cs typeface="Arial" panose="020B0604020202020204" pitchFamily="34" charset="0"/>
              </a:endParaRPr>
            </a:p>
          </p:txBody>
        </p:sp>
      </p:grpSp>
      <p:grpSp>
        <p:nvGrpSpPr>
          <p:cNvPr id="79" name="Gruppieren 78"/>
          <p:cNvGrpSpPr/>
          <p:nvPr/>
        </p:nvGrpSpPr>
        <p:grpSpPr>
          <a:xfrm>
            <a:off x="6349701" y="3599435"/>
            <a:ext cx="432048" cy="432048"/>
            <a:chOff x="2044804" y="3587729"/>
            <a:chExt cx="432048" cy="432048"/>
          </a:xfrm>
        </p:grpSpPr>
        <p:sp>
          <p:nvSpPr>
            <p:cNvPr id="80" name="Ellipse 79"/>
            <p:cNvSpPr/>
            <p:nvPr/>
          </p:nvSpPr>
          <p:spPr>
            <a:xfrm>
              <a:off x="2044804" y="3587729"/>
              <a:ext cx="432048" cy="432048"/>
            </a:xfrm>
            <a:prstGeom prst="ellipse">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rgbClr val="00324B"/>
                </a:solidFill>
                <a:cs typeface="Arial" panose="020B0604020202020204" pitchFamily="34" charset="0"/>
              </a:endParaRPr>
            </a:p>
          </p:txBody>
        </p:sp>
        <p:sp>
          <p:nvSpPr>
            <p:cNvPr id="81" name="Ellipse 80"/>
            <p:cNvSpPr/>
            <p:nvPr/>
          </p:nvSpPr>
          <p:spPr>
            <a:xfrm>
              <a:off x="2210194" y="3753119"/>
              <a:ext cx="108000" cy="108000"/>
            </a:xfrm>
            <a:prstGeom prst="ellipse">
              <a:avLst/>
            </a:prstGeom>
            <a:solidFill>
              <a:schemeClr val="accent5"/>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chemeClr val="accent5">
                    <a:lumMod val="75000"/>
                  </a:schemeClr>
                </a:solidFill>
                <a:cs typeface="Arial" panose="020B0604020202020204" pitchFamily="34" charset="0"/>
              </a:endParaRPr>
            </a:p>
          </p:txBody>
        </p:sp>
      </p:grpSp>
      <p:grpSp>
        <p:nvGrpSpPr>
          <p:cNvPr id="82" name="Gruppieren 81"/>
          <p:cNvGrpSpPr/>
          <p:nvPr/>
        </p:nvGrpSpPr>
        <p:grpSpPr>
          <a:xfrm>
            <a:off x="3110904" y="3599435"/>
            <a:ext cx="432048" cy="432048"/>
            <a:chOff x="2044804" y="3587729"/>
            <a:chExt cx="432048" cy="432048"/>
          </a:xfrm>
        </p:grpSpPr>
        <p:sp>
          <p:nvSpPr>
            <p:cNvPr id="83" name="Ellipse 82"/>
            <p:cNvSpPr/>
            <p:nvPr/>
          </p:nvSpPr>
          <p:spPr>
            <a:xfrm>
              <a:off x="2044804" y="3587729"/>
              <a:ext cx="432048" cy="432048"/>
            </a:xfrm>
            <a:prstGeom prst="ellipse">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rgbClr val="00324B"/>
                </a:solidFill>
                <a:cs typeface="Arial" panose="020B0604020202020204" pitchFamily="34" charset="0"/>
              </a:endParaRPr>
            </a:p>
          </p:txBody>
        </p:sp>
        <p:sp>
          <p:nvSpPr>
            <p:cNvPr id="84" name="Ellipse 83"/>
            <p:cNvSpPr/>
            <p:nvPr/>
          </p:nvSpPr>
          <p:spPr>
            <a:xfrm>
              <a:off x="2210194" y="3753119"/>
              <a:ext cx="108000" cy="108000"/>
            </a:xfrm>
            <a:prstGeom prst="ellipse">
              <a:avLst/>
            </a:prstGeom>
            <a:solidFill>
              <a:schemeClr val="accent5"/>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chemeClr val="accent5">
                    <a:lumMod val="75000"/>
                  </a:schemeClr>
                </a:solidFill>
                <a:cs typeface="Arial" panose="020B0604020202020204" pitchFamily="34" charset="0"/>
              </a:endParaRPr>
            </a:p>
          </p:txBody>
        </p:sp>
      </p:grpSp>
      <p:grpSp>
        <p:nvGrpSpPr>
          <p:cNvPr id="85" name="Gruppieren 84"/>
          <p:cNvGrpSpPr/>
          <p:nvPr/>
        </p:nvGrpSpPr>
        <p:grpSpPr>
          <a:xfrm>
            <a:off x="4132223" y="3599435"/>
            <a:ext cx="432048" cy="432048"/>
            <a:chOff x="2044804" y="3587729"/>
            <a:chExt cx="432048" cy="432048"/>
          </a:xfrm>
        </p:grpSpPr>
        <p:sp>
          <p:nvSpPr>
            <p:cNvPr id="86" name="Ellipse 85"/>
            <p:cNvSpPr/>
            <p:nvPr/>
          </p:nvSpPr>
          <p:spPr>
            <a:xfrm>
              <a:off x="2044804" y="3587729"/>
              <a:ext cx="432048" cy="432048"/>
            </a:xfrm>
            <a:prstGeom prst="ellipse">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rgbClr val="00324B"/>
                </a:solidFill>
                <a:cs typeface="Arial" panose="020B0604020202020204" pitchFamily="34" charset="0"/>
              </a:endParaRPr>
            </a:p>
          </p:txBody>
        </p:sp>
        <p:sp>
          <p:nvSpPr>
            <p:cNvPr id="94" name="Ellipse 93"/>
            <p:cNvSpPr/>
            <p:nvPr/>
          </p:nvSpPr>
          <p:spPr>
            <a:xfrm>
              <a:off x="2210194" y="3753119"/>
              <a:ext cx="108000" cy="108000"/>
            </a:xfrm>
            <a:prstGeom prst="ellipse">
              <a:avLst/>
            </a:prstGeom>
            <a:solidFill>
              <a:schemeClr val="accent5"/>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chemeClr val="accent5">
                    <a:lumMod val="75000"/>
                  </a:schemeClr>
                </a:solidFill>
                <a:cs typeface="Arial" panose="020B0604020202020204" pitchFamily="34" charset="0"/>
              </a:endParaRPr>
            </a:p>
          </p:txBody>
        </p:sp>
      </p:grpSp>
      <p:grpSp>
        <p:nvGrpSpPr>
          <p:cNvPr id="98" name="Gruppieren 97"/>
          <p:cNvGrpSpPr/>
          <p:nvPr/>
        </p:nvGrpSpPr>
        <p:grpSpPr>
          <a:xfrm>
            <a:off x="986776" y="3599435"/>
            <a:ext cx="432048" cy="432048"/>
            <a:chOff x="2044804" y="3587729"/>
            <a:chExt cx="432048" cy="432048"/>
          </a:xfrm>
        </p:grpSpPr>
        <p:sp>
          <p:nvSpPr>
            <p:cNvPr id="101" name="Ellipse 100"/>
            <p:cNvSpPr/>
            <p:nvPr/>
          </p:nvSpPr>
          <p:spPr>
            <a:xfrm>
              <a:off x="2044804" y="3587729"/>
              <a:ext cx="432048" cy="432048"/>
            </a:xfrm>
            <a:prstGeom prst="ellipse">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rgbClr val="00324B"/>
                </a:solidFill>
                <a:cs typeface="Arial" panose="020B0604020202020204" pitchFamily="34" charset="0"/>
              </a:endParaRPr>
            </a:p>
          </p:txBody>
        </p:sp>
        <p:sp>
          <p:nvSpPr>
            <p:cNvPr id="102" name="Ellipse 101"/>
            <p:cNvSpPr/>
            <p:nvPr/>
          </p:nvSpPr>
          <p:spPr>
            <a:xfrm>
              <a:off x="2206771" y="3749654"/>
              <a:ext cx="108000" cy="108000"/>
            </a:xfrm>
            <a:prstGeom prst="ellipse">
              <a:avLst/>
            </a:prstGeom>
            <a:solidFill>
              <a:schemeClr val="accent5"/>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chemeClr val="accent5">
                    <a:lumMod val="75000"/>
                  </a:schemeClr>
                </a:solidFill>
                <a:cs typeface="Arial" panose="020B0604020202020204" pitchFamily="34" charset="0"/>
              </a:endParaRPr>
            </a:p>
          </p:txBody>
        </p:sp>
      </p:grpSp>
      <p:pic>
        <p:nvPicPr>
          <p:cNvPr id="15" name="Grafik 14"/>
          <p:cNvPicPr>
            <a:picLocks noChangeAspect="1"/>
          </p:cNvPicPr>
          <p:nvPr/>
        </p:nvPicPr>
        <p:blipFill rotWithShape="1">
          <a:blip r:embed="rId11" cstate="email">
            <a:extLst>
              <a:ext uri="{28A0092B-C50C-407E-A947-70E740481C1C}">
                <a14:useLocalDpi xmlns:a14="http://schemas.microsoft.com/office/drawing/2010/main"/>
              </a:ext>
            </a:extLst>
          </a:blip>
          <a:srcRect t="-156"/>
          <a:stretch/>
        </p:blipFill>
        <p:spPr>
          <a:xfrm>
            <a:off x="7668451" y="4311195"/>
            <a:ext cx="2405850" cy="2151749"/>
          </a:xfrm>
          <a:prstGeom prst="rect">
            <a:avLst/>
          </a:prstGeom>
        </p:spPr>
      </p:pic>
      <p:grpSp>
        <p:nvGrpSpPr>
          <p:cNvPr id="103" name="Gruppieren 102"/>
          <p:cNvGrpSpPr/>
          <p:nvPr/>
        </p:nvGrpSpPr>
        <p:grpSpPr>
          <a:xfrm>
            <a:off x="2018073" y="3599435"/>
            <a:ext cx="432048" cy="432048"/>
            <a:chOff x="2044804" y="3587729"/>
            <a:chExt cx="432048" cy="432048"/>
          </a:xfrm>
        </p:grpSpPr>
        <p:sp>
          <p:nvSpPr>
            <p:cNvPr id="104" name="Ellipse 103"/>
            <p:cNvSpPr/>
            <p:nvPr/>
          </p:nvSpPr>
          <p:spPr>
            <a:xfrm>
              <a:off x="2044804" y="3587729"/>
              <a:ext cx="432048" cy="432048"/>
            </a:xfrm>
            <a:prstGeom prst="ellipse">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rgbClr val="00324B"/>
                </a:solidFill>
                <a:cs typeface="Arial" panose="020B0604020202020204" pitchFamily="34" charset="0"/>
              </a:endParaRPr>
            </a:p>
          </p:txBody>
        </p:sp>
        <p:sp>
          <p:nvSpPr>
            <p:cNvPr id="105" name="Ellipse 104"/>
            <p:cNvSpPr/>
            <p:nvPr/>
          </p:nvSpPr>
          <p:spPr>
            <a:xfrm>
              <a:off x="2210194" y="3753119"/>
              <a:ext cx="108000" cy="108000"/>
            </a:xfrm>
            <a:prstGeom prst="ellipse">
              <a:avLst/>
            </a:prstGeom>
            <a:solidFill>
              <a:schemeClr val="accent5"/>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chemeClr val="accent5">
                    <a:lumMod val="75000"/>
                  </a:schemeClr>
                </a:solidFill>
                <a:cs typeface="Arial" panose="020B0604020202020204" pitchFamily="34" charset="0"/>
              </a:endParaRPr>
            </a:p>
          </p:txBody>
        </p:sp>
      </p:grpSp>
      <p:pic>
        <p:nvPicPr>
          <p:cNvPr id="16" name="Grafik 15"/>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8868791" y="1064799"/>
            <a:ext cx="2601159" cy="2184428"/>
          </a:xfrm>
          <a:prstGeom prst="rect">
            <a:avLst/>
          </a:prstGeom>
        </p:spPr>
      </p:pic>
      <p:pic>
        <p:nvPicPr>
          <p:cNvPr id="2" name="Picture 5" descr="A picture containing indoor, table, dog, food&#10;&#10;Description generated with very high confidence">
            <a:extLst>
              <a:ext uri="{FF2B5EF4-FFF2-40B4-BE49-F238E27FC236}">
                <a16:creationId xmlns:a16="http://schemas.microsoft.com/office/drawing/2014/main" id="{22D39181-317A-41B0-B684-E7B9CCB4F575}"/>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t="-212" b="-681"/>
          <a:stretch/>
        </p:blipFill>
        <p:spPr>
          <a:xfrm>
            <a:off x="3160824" y="4311195"/>
            <a:ext cx="2180160" cy="2160458"/>
          </a:xfrm>
          <a:prstGeom prst="rect">
            <a:avLst/>
          </a:prstGeom>
        </p:spPr>
      </p:pic>
      <p:grpSp>
        <p:nvGrpSpPr>
          <p:cNvPr id="56" name="Gruppieren 64">
            <a:extLst>
              <a:ext uri="{FF2B5EF4-FFF2-40B4-BE49-F238E27FC236}">
                <a16:creationId xmlns:a16="http://schemas.microsoft.com/office/drawing/2014/main" id="{AA390EF6-5146-419F-92BA-3972335B0625}"/>
              </a:ext>
            </a:extLst>
          </p:cNvPr>
          <p:cNvGrpSpPr/>
          <p:nvPr/>
        </p:nvGrpSpPr>
        <p:grpSpPr>
          <a:xfrm>
            <a:off x="8530275" y="3599435"/>
            <a:ext cx="432048" cy="432048"/>
            <a:chOff x="2044804" y="3587729"/>
            <a:chExt cx="432048" cy="432048"/>
          </a:xfrm>
        </p:grpSpPr>
        <p:sp>
          <p:nvSpPr>
            <p:cNvPr id="57" name="Ellipse 65">
              <a:extLst>
                <a:ext uri="{FF2B5EF4-FFF2-40B4-BE49-F238E27FC236}">
                  <a16:creationId xmlns:a16="http://schemas.microsoft.com/office/drawing/2014/main" id="{D9F04CAF-53D1-4609-BD99-7F9B86957277}"/>
                </a:ext>
              </a:extLst>
            </p:cNvPr>
            <p:cNvSpPr/>
            <p:nvPr/>
          </p:nvSpPr>
          <p:spPr>
            <a:xfrm>
              <a:off x="2044804" y="3587729"/>
              <a:ext cx="432048" cy="432048"/>
            </a:xfrm>
            <a:prstGeom prst="ellipse">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rgbClr val="00324B"/>
                </a:solidFill>
                <a:cs typeface="Arial" panose="020B0604020202020204" pitchFamily="34" charset="0"/>
              </a:endParaRPr>
            </a:p>
          </p:txBody>
        </p:sp>
        <p:sp>
          <p:nvSpPr>
            <p:cNvPr id="58" name="Ellipse 66">
              <a:extLst>
                <a:ext uri="{FF2B5EF4-FFF2-40B4-BE49-F238E27FC236}">
                  <a16:creationId xmlns:a16="http://schemas.microsoft.com/office/drawing/2014/main" id="{775EA8BF-85DB-4374-B8B1-75C47ED7EB88}"/>
                </a:ext>
              </a:extLst>
            </p:cNvPr>
            <p:cNvSpPr/>
            <p:nvPr/>
          </p:nvSpPr>
          <p:spPr>
            <a:xfrm>
              <a:off x="2210194" y="3753119"/>
              <a:ext cx="108000" cy="108000"/>
            </a:xfrm>
            <a:prstGeom prst="ellipse">
              <a:avLst/>
            </a:prstGeom>
            <a:solidFill>
              <a:schemeClr val="accent5"/>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chemeClr val="accent5">
                    <a:lumMod val="75000"/>
                  </a:schemeClr>
                </a:solidFill>
                <a:cs typeface="Arial" panose="020B0604020202020204" pitchFamily="34" charset="0"/>
              </a:endParaRPr>
            </a:p>
          </p:txBody>
        </p:sp>
      </p:grpSp>
    </p:spTree>
    <p:extLst>
      <p:ext uri="{BB962C8B-B14F-4D97-AF65-F5344CB8AC3E}">
        <p14:creationId xmlns:p14="http://schemas.microsoft.com/office/powerpoint/2010/main" val="140699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Our Business</a:t>
            </a:r>
            <a:br>
              <a:rPr lang="en-US"/>
            </a:br>
            <a:r>
              <a:rPr lang="en-US" b="0">
                <a:solidFill>
                  <a:srgbClr val="00324B"/>
                </a:solidFill>
              </a:rPr>
              <a:t>Strong </a:t>
            </a:r>
            <a:r>
              <a:rPr lang="en-US" altLang="zh-CN" b="0">
                <a:solidFill>
                  <a:srgbClr val="00324B"/>
                </a:solidFill>
              </a:rPr>
              <a:t>P</a:t>
            </a:r>
            <a:r>
              <a:rPr lang="en-US" b="0">
                <a:solidFill>
                  <a:srgbClr val="00324B"/>
                </a:solidFill>
              </a:rPr>
              <a:t>osition in </a:t>
            </a:r>
            <a:r>
              <a:rPr lang="en-US" altLang="zh-CN" b="0">
                <a:solidFill>
                  <a:srgbClr val="00324B"/>
                </a:solidFill>
              </a:rPr>
              <a:t>o</a:t>
            </a:r>
            <a:r>
              <a:rPr lang="en-US" b="0">
                <a:solidFill>
                  <a:srgbClr val="00324B"/>
                </a:solidFill>
              </a:rPr>
              <a:t>ur </a:t>
            </a:r>
            <a:r>
              <a:rPr lang="en-US" altLang="zh-CN">
                <a:solidFill>
                  <a:srgbClr val="00324B"/>
                </a:solidFill>
              </a:rPr>
              <a:t>I</a:t>
            </a:r>
            <a:r>
              <a:rPr lang="en-US" b="0">
                <a:solidFill>
                  <a:srgbClr val="00324B"/>
                </a:solidFill>
              </a:rPr>
              <a:t>ndustries</a:t>
            </a:r>
            <a:endParaRPr lang="en-US" b="0"/>
          </a:p>
        </p:txBody>
      </p:sp>
      <p:pic>
        <p:nvPicPr>
          <p:cNvPr id="30" name="Inhaltsplatzhalter 2"/>
          <p:cNvPicPr>
            <a:picLocks noGrp="1" noChangeAspect="1"/>
          </p:cNvPicPr>
          <p:nvPr>
            <p:ph idx="1"/>
          </p:nvPr>
        </p:nvPicPr>
        <p:blipFill>
          <a:blip r:embed="rId2" cstate="email">
            <a:extLst>
              <a:ext uri="{28A0092B-C50C-407E-A947-70E740481C1C}">
                <a14:useLocalDpi xmlns:a14="http://schemas.microsoft.com/office/drawing/2010/main" val="0"/>
              </a:ext>
            </a:extLst>
          </a:blip>
          <a:stretch>
            <a:fillRect/>
          </a:stretch>
        </p:blipFill>
        <p:spPr>
          <a:xfrm>
            <a:off x="1583457" y="1665288"/>
            <a:ext cx="9028262" cy="5003800"/>
          </a:xfrm>
        </p:spPr>
      </p:pic>
      <p:sp>
        <p:nvSpPr>
          <p:cNvPr id="3" name="页脚占位符 2">
            <a:extLst>
              <a:ext uri="{FF2B5EF4-FFF2-40B4-BE49-F238E27FC236}">
                <a16:creationId xmlns:a16="http://schemas.microsoft.com/office/drawing/2014/main" id="{8CF83964-7B76-5F31-524F-40F1DC77263D}"/>
              </a:ext>
            </a:extLst>
          </p:cNvPr>
          <p:cNvSpPr>
            <a:spLocks noGrp="1"/>
          </p:cNvSpPr>
          <p:nvPr>
            <p:ph type="ftr" sz="quarter" idx="10"/>
          </p:nvPr>
        </p:nvSpPr>
        <p:spPr/>
        <p:txBody>
          <a:bodyPr/>
          <a:lstStyle/>
          <a:p>
            <a:r>
              <a:rPr lang="en-US"/>
              <a:t>Buhler Rice FLour Dry Milling Solution |  Buhler GF-Food</a:t>
            </a:r>
          </a:p>
        </p:txBody>
      </p:sp>
      <p:pic>
        <p:nvPicPr>
          <p:cNvPr id="1028" name="Picture 4" descr="https://www.haas.com/fileadmin/_processed_/csm_flachwaffel_002_3ce45a9564.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9900"/>
          <a:stretch/>
        </p:blipFill>
        <p:spPr bwMode="auto">
          <a:xfrm>
            <a:off x="7954194" y="1917460"/>
            <a:ext cx="1629343" cy="1947156"/>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2" descr="Soft Dough Biscuits"/>
          <p:cNvPicPr>
            <a:picLocks noChangeAspect="1" noChangeArrowheads="1"/>
          </p:cNvPicPr>
          <p:nvPr/>
        </p:nvPicPr>
        <p:blipFill rotWithShape="1">
          <a:blip r:embed="rId4">
            <a:extLst>
              <a:ext uri="{28A0092B-C50C-407E-A947-70E740481C1C}">
                <a14:useLocalDpi xmlns:a14="http://schemas.microsoft.com/office/drawing/2010/main" val="0"/>
              </a:ext>
            </a:extLst>
          </a:blip>
          <a:srcRect l="21457" t="296" r="28585" b="-296"/>
          <a:stretch/>
        </p:blipFill>
        <p:spPr bwMode="auto">
          <a:xfrm>
            <a:off x="9867318" y="1924377"/>
            <a:ext cx="1596767" cy="1963516"/>
          </a:xfrm>
          <a:prstGeom prst="rect">
            <a:avLst/>
          </a:prstGeom>
          <a:noFill/>
          <a:extLst>
            <a:ext uri="{909E8E84-426E-40DD-AFC4-6F175D3DCCD1}">
              <a14:hiddenFill xmlns:a14="http://schemas.microsoft.com/office/drawing/2010/main">
                <a:solidFill>
                  <a:srgbClr val="FFFFFF"/>
                </a:solidFill>
              </a14:hiddenFill>
            </a:ext>
          </a:extLst>
        </p:spPr>
      </p:pic>
      <p:pic>
        <p:nvPicPr>
          <p:cNvPr id="116" name="Bildplatzhalter 4"/>
          <p:cNvPicPr>
            <a:picLocks noChangeAspect="1"/>
          </p:cNvPicPr>
          <p:nvPr/>
        </p:nvPicPr>
        <p:blipFill rotWithShape="1">
          <a:blip r:embed="rId5" cstate="email">
            <a:extLst>
              <a:ext uri="{28A0092B-C50C-407E-A947-70E740481C1C}">
                <a14:useLocalDpi xmlns:a14="http://schemas.microsoft.com/office/drawing/2010/main"/>
              </a:ext>
            </a:extLst>
          </a:blip>
          <a:srcRect l="13676" r="17438"/>
          <a:stretch/>
        </p:blipFill>
        <p:spPr>
          <a:xfrm>
            <a:off x="6073068" y="4548671"/>
            <a:ext cx="1676400" cy="2008868"/>
          </a:xfrm>
          <a:prstGeom prst="rect">
            <a:avLst/>
          </a:prstGeom>
        </p:spPr>
      </p:pic>
      <p:pic>
        <p:nvPicPr>
          <p:cNvPr id="112" name="Bildplatzhalter 4"/>
          <p:cNvPicPr>
            <a:picLocks noChangeAspect="1"/>
          </p:cNvPicPr>
          <p:nvPr/>
        </p:nvPicPr>
        <p:blipFill rotWithShape="1">
          <a:blip r:embed="rId6" cstate="email">
            <a:extLst>
              <a:ext uri="{28A0092B-C50C-407E-A947-70E740481C1C}">
                <a14:useLocalDpi xmlns:a14="http://schemas.microsoft.com/office/drawing/2010/main"/>
              </a:ext>
            </a:extLst>
          </a:blip>
          <a:srcRect l="14924"/>
          <a:stretch/>
        </p:blipFill>
        <p:spPr>
          <a:xfrm>
            <a:off x="2289935" y="4557905"/>
            <a:ext cx="1600200" cy="2010412"/>
          </a:xfrm>
          <a:prstGeom prst="rect">
            <a:avLst/>
          </a:prstGeom>
        </p:spPr>
      </p:pic>
      <p:pic>
        <p:nvPicPr>
          <p:cNvPr id="108" name="Bildplatzhalter 4"/>
          <p:cNvPicPr>
            <a:picLocks noChangeAspect="1"/>
          </p:cNvPicPr>
          <p:nvPr/>
        </p:nvPicPr>
        <p:blipFill rotWithShape="1">
          <a:blip r:embed="rId7" cstate="email">
            <a:extLst>
              <a:ext uri="{28A0092B-C50C-407E-A947-70E740481C1C}">
                <a14:useLocalDpi xmlns:a14="http://schemas.microsoft.com/office/drawing/2010/main"/>
              </a:ext>
            </a:extLst>
          </a:blip>
          <a:srcRect l="11952" r="3442"/>
          <a:stretch/>
        </p:blipFill>
        <p:spPr>
          <a:xfrm>
            <a:off x="458787" y="4557905"/>
            <a:ext cx="1600200" cy="2006616"/>
          </a:xfrm>
          <a:prstGeom prst="rect">
            <a:avLst/>
          </a:prstGeom>
        </p:spPr>
      </p:pic>
      <p:pic>
        <p:nvPicPr>
          <p:cNvPr id="62" name="Bildplatzhalter 5"/>
          <p:cNvPicPr>
            <a:picLocks noChangeAspect="1"/>
          </p:cNvPicPr>
          <p:nvPr/>
        </p:nvPicPr>
        <p:blipFill rotWithShape="1">
          <a:blip r:embed="rId8" cstate="email">
            <a:extLst>
              <a:ext uri="{28A0092B-C50C-407E-A947-70E740481C1C}">
                <a14:useLocalDpi xmlns:a14="http://schemas.microsoft.com/office/drawing/2010/main"/>
              </a:ext>
            </a:extLst>
          </a:blip>
          <a:srcRect r="15887"/>
          <a:stretch/>
        </p:blipFill>
        <p:spPr>
          <a:xfrm>
            <a:off x="4194817" y="1918601"/>
            <a:ext cx="1603776" cy="1947157"/>
          </a:xfrm>
          <a:prstGeom prst="rect">
            <a:avLst/>
          </a:prstGeom>
        </p:spPr>
      </p:pic>
      <p:pic>
        <p:nvPicPr>
          <p:cNvPr id="58" name="Bildplatzhalter 5"/>
          <p:cNvPicPr>
            <a:picLocks noChangeAspect="1"/>
          </p:cNvPicPr>
          <p:nvPr/>
        </p:nvPicPr>
        <p:blipFill rotWithShape="1">
          <a:blip r:embed="rId9" cstate="email">
            <a:extLst>
              <a:ext uri="{28A0092B-C50C-407E-A947-70E740481C1C}">
                <a14:useLocalDpi xmlns:a14="http://schemas.microsoft.com/office/drawing/2010/main"/>
              </a:ext>
            </a:extLst>
          </a:blip>
          <a:srcRect r="16504"/>
          <a:stretch/>
        </p:blipFill>
        <p:spPr>
          <a:xfrm>
            <a:off x="2347804" y="1918602"/>
            <a:ext cx="1612750" cy="1947156"/>
          </a:xfrm>
          <a:prstGeom prst="rect">
            <a:avLst/>
          </a:prstGeom>
        </p:spPr>
      </p:pic>
      <p:pic>
        <p:nvPicPr>
          <p:cNvPr id="6" name="Picture 2"/>
          <p:cNvPicPr>
            <a:picLocks noChangeAspect="1" noChangeArrowheads="1"/>
          </p:cNvPicPr>
          <p:nvPr/>
        </p:nvPicPr>
        <p:blipFill rotWithShape="1">
          <a:blip r:embed="rId10" cstate="screen">
            <a:extLst>
              <a:ext uri="{28A0092B-C50C-407E-A947-70E740481C1C}">
                <a14:useLocalDpi xmlns:a14="http://schemas.microsoft.com/office/drawing/2010/main" val="0"/>
              </a:ext>
            </a:extLst>
          </a:blip>
          <a:srcRect/>
          <a:stretch/>
        </p:blipFill>
        <p:spPr bwMode="auto">
          <a:xfrm>
            <a:off x="474839" y="1918604"/>
            <a:ext cx="1613433" cy="1952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Grafik 13"/>
          <p:cNvPicPr>
            <a:picLocks noChangeAspect="1"/>
          </p:cNvPicPr>
          <p:nvPr/>
        </p:nvPicPr>
        <p:blipFill rotWithShape="1">
          <a:blip r:embed="rId11" cstate="screen">
            <a:extLst>
              <a:ext uri="{28A0092B-C50C-407E-A947-70E740481C1C}">
                <a14:useLocalDpi xmlns:a14="http://schemas.microsoft.com/office/drawing/2010/main" val="0"/>
              </a:ext>
            </a:extLst>
          </a:blip>
          <a:srcRect/>
          <a:stretch/>
        </p:blipFill>
        <p:spPr>
          <a:xfrm>
            <a:off x="6078416" y="1918602"/>
            <a:ext cx="1625929" cy="1947156"/>
          </a:xfrm>
          <a:prstGeom prst="rect">
            <a:avLst/>
          </a:prstGeom>
        </p:spPr>
      </p:pic>
      <p:pic>
        <p:nvPicPr>
          <p:cNvPr id="18" name="Grafik 8"/>
          <p:cNvPicPr>
            <a:picLocks noChangeAspect="1"/>
          </p:cNvPicPr>
          <p:nvPr/>
        </p:nvPicPr>
        <p:blipFill rotWithShape="1">
          <a:blip r:embed="rId12" cstate="screen">
            <a:extLst>
              <a:ext uri="{28A0092B-C50C-407E-A947-70E740481C1C}">
                <a14:useLocalDpi xmlns:a14="http://schemas.microsoft.com/office/drawing/2010/main" val="0"/>
              </a:ext>
            </a:extLst>
          </a:blip>
          <a:srcRect/>
          <a:stretch/>
        </p:blipFill>
        <p:spPr>
          <a:xfrm>
            <a:off x="8014654" y="4557905"/>
            <a:ext cx="1626110" cy="1999634"/>
          </a:xfrm>
          <a:prstGeom prst="rect">
            <a:avLst/>
          </a:prstGeom>
        </p:spPr>
      </p:pic>
      <p:pic>
        <p:nvPicPr>
          <p:cNvPr id="20" name="Picture 2"/>
          <p:cNvPicPr>
            <a:picLocks noChangeAspect="1" noChangeArrowheads="1"/>
          </p:cNvPicPr>
          <p:nvPr/>
        </p:nvPicPr>
        <p:blipFill rotWithShape="1">
          <a:blip r:embed="rId13" cstate="screen">
            <a:extLst>
              <a:ext uri="{28A0092B-C50C-407E-A947-70E740481C1C}">
                <a14:useLocalDpi xmlns:a14="http://schemas.microsoft.com/office/drawing/2010/main" val="0"/>
              </a:ext>
            </a:extLst>
          </a:blip>
          <a:srcRect/>
          <a:stretch/>
        </p:blipFill>
        <p:spPr bwMode="auto">
          <a:xfrm>
            <a:off x="9903383" y="4537897"/>
            <a:ext cx="1640459" cy="20196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ectangle 20"/>
          <p:cNvSpPr/>
          <p:nvPr/>
        </p:nvSpPr>
        <p:spPr bwMode="auto">
          <a:xfrm>
            <a:off x="462163" y="3259836"/>
            <a:ext cx="1626109" cy="611642"/>
          </a:xfrm>
          <a:prstGeom prst="rect">
            <a:avLst/>
          </a:prstGeom>
          <a:solidFill>
            <a:schemeClr val="accent1">
              <a:alpha val="50000"/>
            </a:schemeClr>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fontAlgn="base">
              <a:spcBef>
                <a:spcPct val="50000"/>
              </a:spcBef>
              <a:spcAft>
                <a:spcPct val="0"/>
              </a:spcAft>
            </a:pPr>
            <a:r>
              <a:rPr lang="en-US" sz="1100">
                <a:solidFill>
                  <a:schemeClr val="bg1"/>
                </a:solidFill>
                <a:latin typeface="Arial" charset="0"/>
              </a:rPr>
              <a:t>65% of world’s wheat milled on our machines</a:t>
            </a:r>
          </a:p>
        </p:txBody>
      </p:sp>
      <p:sp>
        <p:nvSpPr>
          <p:cNvPr id="22" name="Rectangle 21"/>
          <p:cNvSpPr/>
          <p:nvPr/>
        </p:nvSpPr>
        <p:spPr bwMode="auto">
          <a:xfrm>
            <a:off x="2347804" y="3254117"/>
            <a:ext cx="1626109" cy="611642"/>
          </a:xfrm>
          <a:prstGeom prst="rect">
            <a:avLst/>
          </a:prstGeom>
          <a:solidFill>
            <a:schemeClr val="accent2">
              <a:alpha val="50000"/>
            </a:schemeClr>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r>
              <a:rPr lang="en-US" sz="1100">
                <a:solidFill>
                  <a:schemeClr val="bg1"/>
                </a:solidFill>
                <a:latin typeface="Arial" charset="0"/>
              </a:rPr>
              <a:t>75% of global malt and 30% of rice produced with our solutions</a:t>
            </a:r>
          </a:p>
        </p:txBody>
      </p:sp>
      <p:sp>
        <p:nvSpPr>
          <p:cNvPr id="23" name="Rectangle 22"/>
          <p:cNvSpPr/>
          <p:nvPr/>
        </p:nvSpPr>
        <p:spPr bwMode="auto">
          <a:xfrm>
            <a:off x="4194564" y="3242696"/>
            <a:ext cx="1625246" cy="623063"/>
          </a:xfrm>
          <a:prstGeom prst="rect">
            <a:avLst/>
          </a:prstGeom>
          <a:solidFill>
            <a:schemeClr val="accent4">
              <a:alpha val="50000"/>
            </a:schemeClr>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fontAlgn="base">
              <a:spcBef>
                <a:spcPct val="50000"/>
              </a:spcBef>
              <a:spcAft>
                <a:spcPct val="0"/>
              </a:spcAft>
            </a:pPr>
            <a:r>
              <a:rPr lang="en-US" sz="1100">
                <a:solidFill>
                  <a:schemeClr val="bg1"/>
                </a:solidFill>
                <a:latin typeface="Arial" charset="0"/>
              </a:rPr>
              <a:t>No. 1 in optical sorting globally with &gt;25,000 installed machines</a:t>
            </a:r>
          </a:p>
        </p:txBody>
      </p:sp>
      <p:sp>
        <p:nvSpPr>
          <p:cNvPr id="24" name="Rectangle 23"/>
          <p:cNvSpPr/>
          <p:nvPr/>
        </p:nvSpPr>
        <p:spPr bwMode="auto">
          <a:xfrm>
            <a:off x="6087776" y="3242696"/>
            <a:ext cx="1625246" cy="623062"/>
          </a:xfrm>
          <a:prstGeom prst="rect">
            <a:avLst/>
          </a:prstGeom>
          <a:solidFill>
            <a:schemeClr val="accent6">
              <a:alpha val="50000"/>
            </a:schemeClr>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R="0" indent="0" fontAlgn="base">
              <a:lnSpc>
                <a:spcPct val="100000"/>
              </a:lnSpc>
              <a:spcBef>
                <a:spcPct val="50000"/>
              </a:spcBef>
              <a:spcAft>
                <a:spcPct val="0"/>
              </a:spcAft>
              <a:buClrTx/>
              <a:buSzTx/>
              <a:buFontTx/>
              <a:buNone/>
              <a:tabLst/>
            </a:pPr>
            <a:r>
              <a:rPr lang="en-US" sz="1100">
                <a:solidFill>
                  <a:schemeClr val="bg1"/>
                </a:solidFill>
                <a:latin typeface="Arial" charset="0"/>
              </a:rPr>
              <a:t>40% of pasta</a:t>
            </a:r>
            <a:br>
              <a:rPr lang="en-US" sz="1100">
                <a:solidFill>
                  <a:schemeClr val="bg1"/>
                </a:solidFill>
                <a:latin typeface="Arial" charset="0"/>
              </a:rPr>
            </a:br>
            <a:r>
              <a:rPr lang="en-US" sz="1100">
                <a:solidFill>
                  <a:schemeClr val="bg1"/>
                </a:solidFill>
                <a:latin typeface="Arial" charset="0"/>
              </a:rPr>
              <a:t>35% of cereals</a:t>
            </a:r>
            <a:br>
              <a:rPr lang="en-US" sz="1100">
                <a:solidFill>
                  <a:schemeClr val="bg1"/>
                </a:solidFill>
                <a:latin typeface="Arial" charset="0"/>
              </a:rPr>
            </a:br>
            <a:r>
              <a:rPr lang="en-US" sz="1100">
                <a:solidFill>
                  <a:schemeClr val="bg1"/>
                </a:solidFill>
                <a:latin typeface="Arial" charset="0"/>
              </a:rPr>
              <a:t>20% of animal feed</a:t>
            </a:r>
          </a:p>
        </p:txBody>
      </p:sp>
      <p:sp>
        <p:nvSpPr>
          <p:cNvPr id="25" name="Rectangle 24"/>
          <p:cNvSpPr/>
          <p:nvPr/>
        </p:nvSpPr>
        <p:spPr bwMode="auto">
          <a:xfrm>
            <a:off x="7942757" y="3242695"/>
            <a:ext cx="1626109" cy="623063"/>
          </a:xfrm>
          <a:prstGeom prst="rect">
            <a:avLst/>
          </a:prstGeom>
          <a:solidFill>
            <a:schemeClr val="accent1">
              <a:alpha val="50000"/>
            </a:schemeClr>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R="0" indent="0" fontAlgn="base">
              <a:lnSpc>
                <a:spcPct val="100000"/>
              </a:lnSpc>
              <a:spcBef>
                <a:spcPct val="50000"/>
              </a:spcBef>
              <a:spcAft>
                <a:spcPct val="0"/>
              </a:spcAft>
              <a:buClrTx/>
              <a:buSzTx/>
              <a:buFontTx/>
              <a:buNone/>
              <a:tabLst/>
            </a:pPr>
            <a:r>
              <a:rPr lang="en-US" sz="1100">
                <a:solidFill>
                  <a:schemeClr val="bg1"/>
                </a:solidFill>
                <a:latin typeface="Arial" charset="0"/>
              </a:rPr>
              <a:t>50% of all wafers produced on </a:t>
            </a:r>
            <a:r>
              <a:rPr lang="en-US" sz="1100" err="1">
                <a:solidFill>
                  <a:schemeClr val="bg1"/>
                </a:solidFill>
                <a:latin typeface="Arial" charset="0"/>
              </a:rPr>
              <a:t>Bühler</a:t>
            </a:r>
            <a:r>
              <a:rPr lang="en-US" sz="1100">
                <a:solidFill>
                  <a:schemeClr val="bg1"/>
                </a:solidFill>
                <a:latin typeface="Arial" charset="0"/>
              </a:rPr>
              <a:t> lines</a:t>
            </a:r>
          </a:p>
        </p:txBody>
      </p:sp>
      <p:sp>
        <p:nvSpPr>
          <p:cNvPr id="26" name="Rectangle 25"/>
          <p:cNvSpPr/>
          <p:nvPr/>
        </p:nvSpPr>
        <p:spPr bwMode="auto">
          <a:xfrm>
            <a:off x="6088759" y="5877958"/>
            <a:ext cx="1645897" cy="679581"/>
          </a:xfrm>
          <a:prstGeom prst="rect">
            <a:avLst/>
          </a:prstGeom>
          <a:solidFill>
            <a:schemeClr val="accent2">
              <a:alpha val="50000"/>
            </a:schemeClr>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R="0" indent="0" fontAlgn="base">
              <a:lnSpc>
                <a:spcPct val="100000"/>
              </a:lnSpc>
              <a:spcBef>
                <a:spcPct val="50000"/>
              </a:spcBef>
              <a:spcAft>
                <a:spcPct val="0"/>
              </a:spcAft>
              <a:buClrTx/>
              <a:buSzTx/>
              <a:buFontTx/>
              <a:buNone/>
              <a:tabLst/>
            </a:pPr>
            <a:r>
              <a:rPr lang="en-US" sz="1100">
                <a:solidFill>
                  <a:schemeClr val="bg1"/>
                </a:solidFill>
                <a:latin typeface="Arial" charset="0"/>
              </a:rPr>
              <a:t>25% of all aluminum components  cast on our </a:t>
            </a:r>
            <a:r>
              <a:rPr lang="en-US" sz="1100" err="1">
                <a:solidFill>
                  <a:schemeClr val="bg1"/>
                </a:solidFill>
                <a:latin typeface="Arial" charset="0"/>
              </a:rPr>
              <a:t>equipmen</a:t>
            </a:r>
            <a:endParaRPr lang="en-US" sz="1100">
              <a:solidFill>
                <a:schemeClr val="bg1"/>
              </a:solidFill>
              <a:latin typeface="Arial" charset="0"/>
            </a:endParaRPr>
          </a:p>
        </p:txBody>
      </p:sp>
      <p:sp>
        <p:nvSpPr>
          <p:cNvPr id="27" name="Rectangle 26"/>
          <p:cNvSpPr/>
          <p:nvPr/>
        </p:nvSpPr>
        <p:spPr bwMode="auto">
          <a:xfrm>
            <a:off x="7989356" y="5884940"/>
            <a:ext cx="1651408" cy="679581"/>
          </a:xfrm>
          <a:prstGeom prst="rect">
            <a:avLst/>
          </a:prstGeom>
          <a:solidFill>
            <a:schemeClr val="accent4">
              <a:alpha val="50000"/>
            </a:schemeClr>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R="0" indent="0" fontAlgn="base">
              <a:lnSpc>
                <a:spcPct val="100000"/>
              </a:lnSpc>
              <a:spcBef>
                <a:spcPct val="50000"/>
              </a:spcBef>
              <a:spcAft>
                <a:spcPct val="0"/>
              </a:spcAft>
              <a:buClrTx/>
              <a:buSzTx/>
              <a:buFontTx/>
              <a:buNone/>
              <a:tabLst/>
            </a:pPr>
            <a:r>
              <a:rPr lang="en-US" sz="1100">
                <a:solidFill>
                  <a:schemeClr val="bg1"/>
                </a:solidFill>
                <a:latin typeface="Arial" charset="0"/>
              </a:rPr>
              <a:t>100% of top 10 ink producers worldwide use Buhler</a:t>
            </a:r>
          </a:p>
        </p:txBody>
      </p:sp>
      <p:sp>
        <p:nvSpPr>
          <p:cNvPr id="28" name="Rectangle 27"/>
          <p:cNvSpPr/>
          <p:nvPr/>
        </p:nvSpPr>
        <p:spPr bwMode="auto">
          <a:xfrm>
            <a:off x="9900061" y="5877958"/>
            <a:ext cx="1637869" cy="679581"/>
          </a:xfrm>
          <a:prstGeom prst="rect">
            <a:avLst/>
          </a:prstGeom>
          <a:solidFill>
            <a:schemeClr val="accent6">
              <a:alpha val="50000"/>
            </a:schemeClr>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R="0" indent="0" fontAlgn="base">
              <a:lnSpc>
                <a:spcPct val="100000"/>
              </a:lnSpc>
              <a:spcBef>
                <a:spcPct val="50000"/>
              </a:spcBef>
              <a:spcAft>
                <a:spcPct val="0"/>
              </a:spcAft>
              <a:buClrTx/>
              <a:buSzTx/>
              <a:buFontTx/>
              <a:buNone/>
              <a:tabLst/>
            </a:pPr>
            <a:r>
              <a:rPr lang="en-US" sz="1100">
                <a:solidFill>
                  <a:schemeClr val="bg1"/>
                </a:solidFill>
                <a:latin typeface="Arial" charset="0"/>
              </a:rPr>
              <a:t>50% of cars worldwide contain components with technology</a:t>
            </a:r>
          </a:p>
        </p:txBody>
      </p:sp>
      <p:grpSp>
        <p:nvGrpSpPr>
          <p:cNvPr id="46" name="Group 45"/>
          <p:cNvGrpSpPr/>
          <p:nvPr/>
        </p:nvGrpSpPr>
        <p:grpSpPr>
          <a:xfrm>
            <a:off x="7331634" y="4465554"/>
            <a:ext cx="446914" cy="444095"/>
            <a:chOff x="4801443" y="1124744"/>
            <a:chExt cx="829741" cy="824508"/>
          </a:xfrm>
        </p:grpSpPr>
        <p:sp>
          <p:nvSpPr>
            <p:cNvPr id="47" name="Träne 26"/>
            <p:cNvSpPr>
              <a:spLocks noChangeAspect="1"/>
            </p:cNvSpPr>
            <p:nvPr/>
          </p:nvSpPr>
          <p:spPr>
            <a:xfrm>
              <a:off x="4801443" y="1124744"/>
              <a:ext cx="829741" cy="824508"/>
            </a:xfrm>
            <a:prstGeom prst="teardrop">
              <a:avLst/>
            </a:prstGeom>
            <a:solidFill>
              <a:srgbClr val="AAACA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chemeClr val="tx2"/>
                </a:solidFill>
                <a:latin typeface="Arial" panose="020B0604020202020204" pitchFamily="34" charset="0"/>
                <a:cs typeface="Arial" panose="020B0604020202020204" pitchFamily="34" charset="0"/>
              </a:endParaRPr>
            </a:p>
          </p:txBody>
        </p:sp>
        <p:pic>
          <p:nvPicPr>
            <p:cNvPr id="48" name="Picture 8"/>
            <p:cNvPicPr>
              <a:picLocks noChangeAspect="1" noChangeArrowheads="1"/>
            </p:cNvPicPr>
            <p:nvPr/>
          </p:nvPicPr>
          <p:blipFill rotWithShape="1">
            <a:blip r:embed="rId14" cstate="print">
              <a:extLst>
                <a:ext uri="{28A0092B-C50C-407E-A947-70E740481C1C}">
                  <a14:useLocalDpi xmlns:a14="http://schemas.microsoft.com/office/drawing/2010/main"/>
                </a:ext>
              </a:extLst>
            </a:blip>
            <a:srcRect/>
            <a:stretch/>
          </p:blipFill>
          <p:spPr bwMode="auto">
            <a:xfrm>
              <a:off x="4859799" y="1181884"/>
              <a:ext cx="728588" cy="737317"/>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9" name="Group 48"/>
          <p:cNvGrpSpPr/>
          <p:nvPr/>
        </p:nvGrpSpPr>
        <p:grpSpPr>
          <a:xfrm>
            <a:off x="9221625" y="4454251"/>
            <a:ext cx="441870" cy="439083"/>
            <a:chOff x="4801443" y="1124744"/>
            <a:chExt cx="829741" cy="824508"/>
          </a:xfrm>
        </p:grpSpPr>
        <p:sp>
          <p:nvSpPr>
            <p:cNvPr id="50" name="Träne 26"/>
            <p:cNvSpPr>
              <a:spLocks noChangeAspect="1"/>
            </p:cNvSpPr>
            <p:nvPr/>
          </p:nvSpPr>
          <p:spPr>
            <a:xfrm>
              <a:off x="4801443" y="1124744"/>
              <a:ext cx="829741" cy="824508"/>
            </a:xfrm>
            <a:prstGeom prst="teardrop">
              <a:avLst/>
            </a:prstGeom>
            <a:solidFill>
              <a:srgbClr val="AAACA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chemeClr val="tx2"/>
                </a:solidFill>
                <a:latin typeface="Arial" panose="020B0604020202020204" pitchFamily="34" charset="0"/>
                <a:cs typeface="Arial" panose="020B0604020202020204" pitchFamily="34" charset="0"/>
              </a:endParaRPr>
            </a:p>
          </p:txBody>
        </p:sp>
        <p:pic>
          <p:nvPicPr>
            <p:cNvPr id="51" name="Picture 9"/>
            <p:cNvPicPr>
              <a:picLocks noChangeAspect="1" noChangeArrowheads="1"/>
            </p:cNvPicPr>
            <p:nvPr/>
          </p:nvPicPr>
          <p:blipFill rotWithShape="1">
            <a:blip r:embed="rId15" cstate="print">
              <a:extLst>
                <a:ext uri="{28A0092B-C50C-407E-A947-70E740481C1C}">
                  <a14:useLocalDpi xmlns:a14="http://schemas.microsoft.com/office/drawing/2010/main"/>
                </a:ext>
              </a:extLst>
            </a:blip>
            <a:srcRect/>
            <a:stretch/>
          </p:blipFill>
          <p:spPr bwMode="auto">
            <a:xfrm>
              <a:off x="4845463" y="1172893"/>
              <a:ext cx="715179" cy="692901"/>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2" name="Group 51"/>
          <p:cNvGrpSpPr/>
          <p:nvPr/>
        </p:nvGrpSpPr>
        <p:grpSpPr>
          <a:xfrm>
            <a:off x="11142017" y="4444246"/>
            <a:ext cx="451938" cy="449088"/>
            <a:chOff x="4801443" y="1124744"/>
            <a:chExt cx="829741" cy="824508"/>
          </a:xfrm>
        </p:grpSpPr>
        <p:sp>
          <p:nvSpPr>
            <p:cNvPr id="53" name="Träne 26"/>
            <p:cNvSpPr>
              <a:spLocks noChangeAspect="1"/>
            </p:cNvSpPr>
            <p:nvPr/>
          </p:nvSpPr>
          <p:spPr>
            <a:xfrm>
              <a:off x="4801443" y="1124744"/>
              <a:ext cx="829741" cy="824508"/>
            </a:xfrm>
            <a:prstGeom prst="teardrop">
              <a:avLst/>
            </a:prstGeom>
            <a:solidFill>
              <a:srgbClr val="AAACA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chemeClr val="tx2"/>
                </a:solidFill>
                <a:latin typeface="Arial" panose="020B0604020202020204" pitchFamily="34" charset="0"/>
                <a:cs typeface="Arial" panose="020B0604020202020204" pitchFamily="34" charset="0"/>
              </a:endParaRPr>
            </a:p>
          </p:txBody>
        </p:sp>
        <p:pic>
          <p:nvPicPr>
            <p:cNvPr id="54" name="Picture 10"/>
            <p:cNvPicPr>
              <a:picLocks noChangeAspect="1" noChangeArrowheads="1"/>
            </p:cNvPicPr>
            <p:nvPr/>
          </p:nvPicPr>
          <p:blipFill rotWithShape="1">
            <a:blip r:embed="rId16" cstate="print">
              <a:extLst>
                <a:ext uri="{28A0092B-C50C-407E-A947-70E740481C1C}">
                  <a14:useLocalDpi xmlns:a14="http://schemas.microsoft.com/office/drawing/2010/main"/>
                </a:ext>
              </a:extLst>
            </a:blip>
            <a:srcRect/>
            <a:stretch/>
          </p:blipFill>
          <p:spPr bwMode="auto">
            <a:xfrm>
              <a:off x="4874368" y="1215610"/>
              <a:ext cx="683890" cy="670693"/>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5" name="Group 54"/>
          <p:cNvGrpSpPr/>
          <p:nvPr/>
        </p:nvGrpSpPr>
        <p:grpSpPr>
          <a:xfrm>
            <a:off x="1646929" y="1843463"/>
            <a:ext cx="477171" cy="474162"/>
            <a:chOff x="4801443" y="1124744"/>
            <a:chExt cx="829741" cy="824508"/>
          </a:xfrm>
        </p:grpSpPr>
        <p:sp>
          <p:nvSpPr>
            <p:cNvPr id="56" name="Träne 26"/>
            <p:cNvSpPr>
              <a:spLocks noChangeAspect="1"/>
            </p:cNvSpPr>
            <p:nvPr/>
          </p:nvSpPr>
          <p:spPr>
            <a:xfrm>
              <a:off x="4801443" y="1124744"/>
              <a:ext cx="829741" cy="824508"/>
            </a:xfrm>
            <a:prstGeom prst="teardrop">
              <a:avLst/>
            </a:prstGeom>
            <a:solidFill>
              <a:srgbClr val="AAACA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chemeClr val="tx2"/>
                </a:solidFill>
                <a:latin typeface="Arial" panose="020B0604020202020204" pitchFamily="34" charset="0"/>
                <a:cs typeface="Arial" panose="020B0604020202020204" pitchFamily="34" charset="0"/>
              </a:endParaRPr>
            </a:p>
          </p:txBody>
        </p:sp>
        <p:pic>
          <p:nvPicPr>
            <p:cNvPr id="57" name="Grafik 2"/>
            <p:cNvPicPr>
              <a:picLocks noChangeAspect="1"/>
            </p:cNvPicPr>
            <p:nvPr/>
          </p:nvPicPr>
          <p:blipFill>
            <a:blip r:embed="rId17" cstate="print">
              <a:biLevel thresh="25000"/>
              <a:extLst>
                <a:ext uri="{BEBA8EAE-BF5A-486C-A8C5-ECC9F3942E4B}">
                  <a14:imgProps xmlns:a14="http://schemas.microsoft.com/office/drawing/2010/main">
                    <a14:imgLayer r:embed="rId18">
                      <a14:imgEffect>
                        <a14:colorTemperature colorTemp="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4900829" y="1191111"/>
              <a:ext cx="671539" cy="670701"/>
            </a:xfrm>
            <a:prstGeom prst="rect">
              <a:avLst/>
            </a:prstGeom>
          </p:spPr>
        </p:pic>
      </p:grpSp>
      <p:grpSp>
        <p:nvGrpSpPr>
          <p:cNvPr id="4" name="Group 3"/>
          <p:cNvGrpSpPr/>
          <p:nvPr/>
        </p:nvGrpSpPr>
        <p:grpSpPr>
          <a:xfrm>
            <a:off x="3569394" y="1843463"/>
            <a:ext cx="477171" cy="474161"/>
            <a:chOff x="4801443" y="1124744"/>
            <a:chExt cx="829741" cy="824507"/>
          </a:xfrm>
        </p:grpSpPr>
        <p:sp>
          <p:nvSpPr>
            <p:cNvPr id="59" name="Träne 29"/>
            <p:cNvSpPr>
              <a:spLocks noChangeAspect="1"/>
            </p:cNvSpPr>
            <p:nvPr/>
          </p:nvSpPr>
          <p:spPr>
            <a:xfrm>
              <a:off x="4801443" y="1124744"/>
              <a:ext cx="829741" cy="824507"/>
            </a:xfrm>
            <a:prstGeom prst="teardrop">
              <a:avLst/>
            </a:prstGeom>
            <a:solidFill>
              <a:srgbClr val="AAACA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chemeClr val="tx2"/>
                </a:solidFill>
                <a:latin typeface="Arial" panose="020B0604020202020204" pitchFamily="34" charset="0"/>
                <a:cs typeface="Arial" panose="020B0604020202020204" pitchFamily="34" charset="0"/>
              </a:endParaRPr>
            </a:p>
          </p:txBody>
        </p:sp>
        <p:pic>
          <p:nvPicPr>
            <p:cNvPr id="60" name="Grafik 2"/>
            <p:cNvPicPr>
              <a:picLocks noChangeAspect="1"/>
            </p:cNvPicPr>
            <p:nvPr/>
          </p:nvPicPr>
          <p:blipFill>
            <a:blip r:embed="rId19" cstate="print">
              <a:biLevel thresh="25000"/>
              <a:extLst>
                <a:ext uri="{BEBA8EAE-BF5A-486C-A8C5-ECC9F3942E4B}">
                  <a14:imgProps xmlns:a14="http://schemas.microsoft.com/office/drawing/2010/main">
                    <a14:imgLayer r:embed="rId20">
                      <a14:imgEffect>
                        <a14:colorTemperature colorTemp="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4877163" y="1168503"/>
              <a:ext cx="678300" cy="677451"/>
            </a:xfrm>
            <a:prstGeom prst="rect">
              <a:avLst/>
            </a:prstGeom>
          </p:spPr>
        </p:pic>
      </p:grpSp>
      <p:grpSp>
        <p:nvGrpSpPr>
          <p:cNvPr id="63" name="Group 62"/>
          <p:cNvGrpSpPr/>
          <p:nvPr/>
        </p:nvGrpSpPr>
        <p:grpSpPr>
          <a:xfrm>
            <a:off x="5407104" y="1836244"/>
            <a:ext cx="480718" cy="477686"/>
            <a:chOff x="4801443" y="1124744"/>
            <a:chExt cx="829741" cy="824508"/>
          </a:xfrm>
        </p:grpSpPr>
        <p:sp>
          <p:nvSpPr>
            <p:cNvPr id="64" name="Träne 26"/>
            <p:cNvSpPr>
              <a:spLocks noChangeAspect="1"/>
            </p:cNvSpPr>
            <p:nvPr/>
          </p:nvSpPr>
          <p:spPr>
            <a:xfrm>
              <a:off x="4801443" y="1124744"/>
              <a:ext cx="829741" cy="824508"/>
            </a:xfrm>
            <a:prstGeom prst="teardrop">
              <a:avLst/>
            </a:prstGeom>
            <a:solidFill>
              <a:srgbClr val="AAACA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chemeClr val="tx2"/>
                </a:solidFill>
                <a:latin typeface="Arial" panose="020B0604020202020204" pitchFamily="34" charset="0"/>
                <a:cs typeface="Arial" panose="020B0604020202020204" pitchFamily="34" charset="0"/>
              </a:endParaRPr>
            </a:p>
          </p:txBody>
        </p:sp>
        <p:pic>
          <p:nvPicPr>
            <p:cNvPr id="65" name="Grafik 2"/>
            <p:cNvPicPr>
              <a:picLocks noChangeAspect="1"/>
            </p:cNvPicPr>
            <p:nvPr/>
          </p:nvPicPr>
          <p:blipFill>
            <a:blip r:embed="rId21" cstate="print">
              <a:biLevel thresh="25000"/>
              <a:extLst>
                <a:ext uri="{BEBA8EAE-BF5A-486C-A8C5-ECC9F3942E4B}">
                  <a14:imgProps xmlns:a14="http://schemas.microsoft.com/office/drawing/2010/main">
                    <a14:imgLayer r:embed="rId22">
                      <a14:imgEffect>
                        <a14:colorTemperature colorTemp="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4885944" y="1198643"/>
              <a:ext cx="667012" cy="666178"/>
            </a:xfrm>
            <a:prstGeom prst="rect">
              <a:avLst/>
            </a:prstGeom>
          </p:spPr>
        </p:pic>
      </p:grpSp>
      <p:grpSp>
        <p:nvGrpSpPr>
          <p:cNvPr id="66" name="Group 65"/>
          <p:cNvGrpSpPr/>
          <p:nvPr/>
        </p:nvGrpSpPr>
        <p:grpSpPr>
          <a:xfrm>
            <a:off x="7323095" y="1828505"/>
            <a:ext cx="488506" cy="485425"/>
            <a:chOff x="4801443" y="1124744"/>
            <a:chExt cx="829741" cy="824508"/>
          </a:xfrm>
        </p:grpSpPr>
        <p:sp>
          <p:nvSpPr>
            <p:cNvPr id="67" name="Träne 26"/>
            <p:cNvSpPr>
              <a:spLocks noChangeAspect="1"/>
            </p:cNvSpPr>
            <p:nvPr/>
          </p:nvSpPr>
          <p:spPr>
            <a:xfrm>
              <a:off x="4801443" y="1124744"/>
              <a:ext cx="829741" cy="824508"/>
            </a:xfrm>
            <a:prstGeom prst="teardrop">
              <a:avLst/>
            </a:prstGeom>
            <a:solidFill>
              <a:srgbClr val="AAACA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chemeClr val="tx2"/>
                </a:solidFill>
                <a:latin typeface="Arial" panose="020B0604020202020204" pitchFamily="34" charset="0"/>
                <a:cs typeface="Arial" panose="020B0604020202020204" pitchFamily="34" charset="0"/>
              </a:endParaRPr>
            </a:p>
          </p:txBody>
        </p:sp>
        <p:pic>
          <p:nvPicPr>
            <p:cNvPr id="68" name="Grafik 2"/>
            <p:cNvPicPr>
              <a:picLocks noChangeAspect="1"/>
            </p:cNvPicPr>
            <p:nvPr/>
          </p:nvPicPr>
          <p:blipFill>
            <a:blip r:embed="rId23" cstate="print">
              <a:biLevel thresh="25000"/>
              <a:extLst>
                <a:ext uri="{BEBA8EAE-BF5A-486C-A8C5-ECC9F3942E4B}">
                  <a14:imgProps xmlns:a14="http://schemas.microsoft.com/office/drawing/2010/main">
                    <a14:imgLayer r:embed="rId24">
                      <a14:imgEffect>
                        <a14:colorTemperature colorTemp="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4928959" y="1248860"/>
              <a:ext cx="606602" cy="606602"/>
            </a:xfrm>
            <a:prstGeom prst="rect">
              <a:avLst/>
            </a:prstGeom>
          </p:spPr>
        </p:pic>
      </p:grpSp>
      <p:sp>
        <p:nvSpPr>
          <p:cNvPr id="74" name="Rectangle 73"/>
          <p:cNvSpPr/>
          <p:nvPr/>
        </p:nvSpPr>
        <p:spPr bwMode="auto">
          <a:xfrm>
            <a:off x="9867318" y="3254117"/>
            <a:ext cx="1626109" cy="610498"/>
          </a:xfrm>
          <a:prstGeom prst="rect">
            <a:avLst/>
          </a:prstGeom>
          <a:solidFill>
            <a:schemeClr val="accent1">
              <a:alpha val="50000"/>
            </a:schemeClr>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R="0" indent="0" fontAlgn="base">
              <a:lnSpc>
                <a:spcPct val="100000"/>
              </a:lnSpc>
              <a:spcBef>
                <a:spcPct val="50000"/>
              </a:spcBef>
              <a:spcAft>
                <a:spcPct val="0"/>
              </a:spcAft>
              <a:buClrTx/>
              <a:buSzTx/>
              <a:buFontTx/>
              <a:buNone/>
              <a:tabLst/>
            </a:pPr>
            <a:r>
              <a:rPr lang="en-US" sz="1100">
                <a:solidFill>
                  <a:schemeClr val="bg1"/>
                </a:solidFill>
                <a:latin typeface="Arial" charset="0"/>
              </a:rPr>
              <a:t>&gt;60 years of experience in biscuits &amp; cakes</a:t>
            </a:r>
          </a:p>
        </p:txBody>
      </p:sp>
      <p:sp>
        <p:nvSpPr>
          <p:cNvPr id="80" name="Rectangle 79"/>
          <p:cNvSpPr/>
          <p:nvPr/>
        </p:nvSpPr>
        <p:spPr bwMode="auto">
          <a:xfrm>
            <a:off x="2288757" y="5888735"/>
            <a:ext cx="1626109" cy="679581"/>
          </a:xfrm>
          <a:prstGeom prst="rect">
            <a:avLst/>
          </a:prstGeom>
          <a:solidFill>
            <a:schemeClr val="accent1">
              <a:alpha val="50000"/>
            </a:schemeClr>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R="0" indent="0" fontAlgn="base">
              <a:lnSpc>
                <a:spcPct val="100000"/>
              </a:lnSpc>
              <a:spcBef>
                <a:spcPct val="50000"/>
              </a:spcBef>
              <a:spcAft>
                <a:spcPct val="0"/>
              </a:spcAft>
              <a:buClrTx/>
              <a:buSzTx/>
              <a:buFontTx/>
              <a:buNone/>
              <a:tabLst/>
            </a:pPr>
            <a:r>
              <a:rPr lang="en-US" sz="1100">
                <a:solidFill>
                  <a:schemeClr val="bg1"/>
                </a:solidFill>
                <a:latin typeface="Arial" charset="0"/>
              </a:rPr>
              <a:t>70% market share for hollow products (figurines etc.)</a:t>
            </a:r>
          </a:p>
        </p:txBody>
      </p:sp>
      <p:pic>
        <p:nvPicPr>
          <p:cNvPr id="85" name="Picture 2"/>
          <p:cNvPicPr>
            <a:picLocks noChangeAspect="1" noChangeArrowheads="1"/>
          </p:cNvPicPr>
          <p:nvPr/>
        </p:nvPicPr>
        <p:blipFill rotWithShape="1">
          <a:blip r:embed="rId25" cstate="screen">
            <a:extLst>
              <a:ext uri="{28A0092B-C50C-407E-A947-70E740481C1C}">
                <a14:useLocalDpi xmlns:a14="http://schemas.microsoft.com/office/drawing/2010/main" val="0"/>
              </a:ext>
            </a:extLst>
          </a:blip>
          <a:srcRect/>
          <a:stretch/>
        </p:blipFill>
        <p:spPr bwMode="auto">
          <a:xfrm>
            <a:off x="4189200" y="4548671"/>
            <a:ext cx="1626110" cy="20088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6" name="Rectangle 85"/>
          <p:cNvSpPr/>
          <p:nvPr/>
        </p:nvSpPr>
        <p:spPr bwMode="auto">
          <a:xfrm>
            <a:off x="4192587" y="5877958"/>
            <a:ext cx="1626109" cy="679581"/>
          </a:xfrm>
          <a:prstGeom prst="rect">
            <a:avLst/>
          </a:prstGeom>
          <a:solidFill>
            <a:schemeClr val="accent1">
              <a:alpha val="50000"/>
            </a:schemeClr>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R="0" indent="0" fontAlgn="base">
              <a:lnSpc>
                <a:spcPct val="100000"/>
              </a:lnSpc>
              <a:spcBef>
                <a:spcPct val="50000"/>
              </a:spcBef>
              <a:spcAft>
                <a:spcPct val="0"/>
              </a:spcAft>
              <a:buClrTx/>
              <a:buSzTx/>
              <a:buFontTx/>
              <a:buNone/>
              <a:tabLst/>
            </a:pPr>
            <a:r>
              <a:rPr lang="en-US" sz="1100">
                <a:solidFill>
                  <a:schemeClr val="bg1"/>
                </a:solidFill>
                <a:latin typeface="Arial" charset="0"/>
              </a:rPr>
              <a:t>60% of all chocolate, from bean to bar made on Buhler</a:t>
            </a:r>
          </a:p>
        </p:txBody>
      </p:sp>
      <p:grpSp>
        <p:nvGrpSpPr>
          <p:cNvPr id="87" name="Group 86"/>
          <p:cNvGrpSpPr/>
          <p:nvPr/>
        </p:nvGrpSpPr>
        <p:grpSpPr>
          <a:xfrm>
            <a:off x="5500396" y="4456798"/>
            <a:ext cx="488506" cy="485425"/>
            <a:chOff x="4801443" y="1124744"/>
            <a:chExt cx="829741" cy="824508"/>
          </a:xfrm>
        </p:grpSpPr>
        <p:sp>
          <p:nvSpPr>
            <p:cNvPr id="88" name="Träne 21"/>
            <p:cNvSpPr>
              <a:spLocks noChangeAspect="1"/>
            </p:cNvSpPr>
            <p:nvPr/>
          </p:nvSpPr>
          <p:spPr>
            <a:xfrm>
              <a:off x="4801443" y="1124744"/>
              <a:ext cx="829741" cy="824508"/>
            </a:xfrm>
            <a:prstGeom prst="teardrop">
              <a:avLst/>
            </a:prstGeom>
            <a:solidFill>
              <a:srgbClr val="AAACA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chemeClr val="tx2"/>
                </a:solidFill>
                <a:latin typeface="Arial" panose="020B0604020202020204" pitchFamily="34" charset="0"/>
                <a:cs typeface="Arial" panose="020B0604020202020204" pitchFamily="34" charset="0"/>
              </a:endParaRPr>
            </a:p>
          </p:txBody>
        </p:sp>
        <p:pic>
          <p:nvPicPr>
            <p:cNvPr id="89" name="Grafik 2"/>
            <p:cNvPicPr>
              <a:picLocks noChangeAspect="1"/>
            </p:cNvPicPr>
            <p:nvPr/>
          </p:nvPicPr>
          <p:blipFill>
            <a:blip r:embed="rId26" cstate="print">
              <a:biLevel thresh="25000"/>
              <a:extLst>
                <a:ext uri="{BEBA8EAE-BF5A-486C-A8C5-ECC9F3942E4B}">
                  <a14:imgProps xmlns:a14="http://schemas.microsoft.com/office/drawing/2010/main">
                    <a14:imgLayer r:embed="rId27">
                      <a14:imgEffect>
                        <a14:colorTemperature colorTemp="15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4954447" y="1237232"/>
              <a:ext cx="587590" cy="587590"/>
            </a:xfrm>
            <a:prstGeom prst="rect">
              <a:avLst/>
            </a:prstGeom>
          </p:spPr>
        </p:pic>
      </p:grpSp>
      <p:grpSp>
        <p:nvGrpSpPr>
          <p:cNvPr id="95" name="Group 94"/>
          <p:cNvGrpSpPr/>
          <p:nvPr/>
        </p:nvGrpSpPr>
        <p:grpSpPr>
          <a:xfrm>
            <a:off x="9177337" y="1814469"/>
            <a:ext cx="502631" cy="499461"/>
            <a:chOff x="4801443" y="1124744"/>
            <a:chExt cx="829741" cy="824508"/>
          </a:xfrm>
        </p:grpSpPr>
        <p:sp>
          <p:nvSpPr>
            <p:cNvPr id="96" name="Träne 21"/>
            <p:cNvSpPr>
              <a:spLocks noChangeAspect="1"/>
            </p:cNvSpPr>
            <p:nvPr/>
          </p:nvSpPr>
          <p:spPr>
            <a:xfrm>
              <a:off x="4801443" y="1124744"/>
              <a:ext cx="829741" cy="824508"/>
            </a:xfrm>
            <a:prstGeom prst="teardrop">
              <a:avLst/>
            </a:prstGeom>
            <a:solidFill>
              <a:srgbClr val="AAACA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chemeClr val="tx2"/>
                </a:solidFill>
                <a:latin typeface="Arial" panose="020B0604020202020204" pitchFamily="34" charset="0"/>
                <a:cs typeface="Arial" panose="020B0604020202020204" pitchFamily="34" charset="0"/>
              </a:endParaRPr>
            </a:p>
          </p:txBody>
        </p:sp>
        <p:pic>
          <p:nvPicPr>
            <p:cNvPr id="97" name="Grafik 2"/>
            <p:cNvPicPr>
              <a:picLocks noChangeAspect="1"/>
            </p:cNvPicPr>
            <p:nvPr/>
          </p:nvPicPr>
          <p:blipFill>
            <a:blip r:embed="rId28" cstate="print">
              <a:biLevel thresh="25000"/>
              <a:extLst>
                <a:ext uri="{BEBA8EAE-BF5A-486C-A8C5-ECC9F3942E4B}">
                  <a14:imgProps xmlns:a14="http://schemas.microsoft.com/office/drawing/2010/main">
                    <a14:imgLayer r:embed="rId29">
                      <a14:imgEffect>
                        <a14:colorTemperature colorTemp="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4909378" y="1202944"/>
              <a:ext cx="613869" cy="613869"/>
            </a:xfrm>
            <a:prstGeom prst="rect">
              <a:avLst/>
            </a:prstGeom>
          </p:spPr>
        </p:pic>
      </p:grpSp>
      <p:grpSp>
        <p:nvGrpSpPr>
          <p:cNvPr id="99" name="Group 98"/>
          <p:cNvGrpSpPr/>
          <p:nvPr/>
        </p:nvGrpSpPr>
        <p:grpSpPr>
          <a:xfrm>
            <a:off x="11116884" y="1796090"/>
            <a:ext cx="521127" cy="517840"/>
            <a:chOff x="4801443" y="1124744"/>
            <a:chExt cx="829741" cy="824508"/>
          </a:xfrm>
        </p:grpSpPr>
        <p:sp>
          <p:nvSpPr>
            <p:cNvPr id="100" name="Träne 21"/>
            <p:cNvSpPr>
              <a:spLocks noChangeAspect="1"/>
            </p:cNvSpPr>
            <p:nvPr/>
          </p:nvSpPr>
          <p:spPr>
            <a:xfrm>
              <a:off x="4801443" y="1124744"/>
              <a:ext cx="829741" cy="824508"/>
            </a:xfrm>
            <a:prstGeom prst="teardrop">
              <a:avLst/>
            </a:prstGeom>
            <a:solidFill>
              <a:srgbClr val="AAACA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chemeClr val="tx2"/>
                </a:solidFill>
                <a:latin typeface="Arial" panose="020B0604020202020204" pitchFamily="34" charset="0"/>
                <a:cs typeface="Arial" panose="020B0604020202020204" pitchFamily="34" charset="0"/>
              </a:endParaRPr>
            </a:p>
          </p:txBody>
        </p:sp>
        <p:pic>
          <p:nvPicPr>
            <p:cNvPr id="101" name="Grafik 2"/>
            <p:cNvPicPr>
              <a:picLocks noChangeAspect="1"/>
            </p:cNvPicPr>
            <p:nvPr/>
          </p:nvPicPr>
          <p:blipFill>
            <a:blip r:embed="rId30" cstate="print">
              <a:biLevel thresh="25000"/>
              <a:extLst>
                <a:ext uri="{BEBA8EAE-BF5A-486C-A8C5-ECC9F3942E4B}">
                  <a14:imgProps xmlns:a14="http://schemas.microsoft.com/office/drawing/2010/main">
                    <a14:imgLayer r:embed="rId31">
                      <a14:imgEffect>
                        <a14:colorTemperature colorTemp="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4915750" y="1205699"/>
              <a:ext cx="640896" cy="640896"/>
            </a:xfrm>
            <a:prstGeom prst="rect">
              <a:avLst/>
            </a:prstGeom>
          </p:spPr>
        </p:pic>
      </p:grpSp>
      <p:sp>
        <p:nvSpPr>
          <p:cNvPr id="104" name="Rectangle 103"/>
          <p:cNvSpPr/>
          <p:nvPr/>
        </p:nvSpPr>
        <p:spPr bwMode="auto">
          <a:xfrm>
            <a:off x="470186" y="5888736"/>
            <a:ext cx="1626109" cy="679581"/>
          </a:xfrm>
          <a:prstGeom prst="rect">
            <a:avLst/>
          </a:prstGeom>
          <a:solidFill>
            <a:schemeClr val="accent1">
              <a:alpha val="50000"/>
            </a:schemeClr>
          </a:solidFill>
          <a:ln w="9525"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R="0" indent="0" fontAlgn="base">
              <a:lnSpc>
                <a:spcPct val="100000"/>
              </a:lnSpc>
              <a:spcBef>
                <a:spcPct val="50000"/>
              </a:spcBef>
              <a:spcAft>
                <a:spcPct val="0"/>
              </a:spcAft>
              <a:buClrTx/>
              <a:buSzTx/>
              <a:buFontTx/>
              <a:buNone/>
              <a:tabLst/>
            </a:pPr>
            <a:r>
              <a:rPr lang="en-US" sz="1100">
                <a:solidFill>
                  <a:schemeClr val="bg1"/>
                </a:solidFill>
                <a:latin typeface="Arial" charset="0"/>
              </a:rPr>
              <a:t>Mixing, aerating and dough preparation for complete plants</a:t>
            </a:r>
          </a:p>
        </p:txBody>
      </p:sp>
      <p:grpSp>
        <p:nvGrpSpPr>
          <p:cNvPr id="109" name="Group 108"/>
          <p:cNvGrpSpPr/>
          <p:nvPr/>
        </p:nvGrpSpPr>
        <p:grpSpPr>
          <a:xfrm>
            <a:off x="1633721" y="4463161"/>
            <a:ext cx="492948" cy="489839"/>
            <a:chOff x="4801443" y="1124744"/>
            <a:chExt cx="829741" cy="824508"/>
          </a:xfrm>
        </p:grpSpPr>
        <p:sp>
          <p:nvSpPr>
            <p:cNvPr id="110" name="Träne 21"/>
            <p:cNvSpPr>
              <a:spLocks noChangeAspect="1"/>
            </p:cNvSpPr>
            <p:nvPr/>
          </p:nvSpPr>
          <p:spPr>
            <a:xfrm>
              <a:off x="4801443" y="1124744"/>
              <a:ext cx="829741" cy="824508"/>
            </a:xfrm>
            <a:prstGeom prst="teardrop">
              <a:avLst/>
            </a:prstGeom>
            <a:solidFill>
              <a:srgbClr val="AAACA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chemeClr val="tx2"/>
                </a:solidFill>
                <a:latin typeface="Arial" panose="020B0604020202020204" pitchFamily="34" charset="0"/>
                <a:cs typeface="Arial" panose="020B0604020202020204" pitchFamily="34" charset="0"/>
              </a:endParaRPr>
            </a:p>
          </p:txBody>
        </p:sp>
        <p:pic>
          <p:nvPicPr>
            <p:cNvPr id="111" name="Grafik 2"/>
            <p:cNvPicPr>
              <a:picLocks noChangeAspect="1"/>
            </p:cNvPicPr>
            <p:nvPr/>
          </p:nvPicPr>
          <p:blipFill>
            <a:blip r:embed="rId32" cstate="print">
              <a:biLevel thresh="25000"/>
              <a:extLst>
                <a:ext uri="{BEBA8EAE-BF5A-486C-A8C5-ECC9F3942E4B}">
                  <a14:imgProps xmlns:a14="http://schemas.microsoft.com/office/drawing/2010/main">
                    <a14:imgLayer r:embed="rId33">
                      <a14:imgEffect>
                        <a14:colorTemperature colorTemp="15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4892782" y="1159725"/>
              <a:ext cx="711606" cy="711603"/>
            </a:xfrm>
            <a:prstGeom prst="rect">
              <a:avLst/>
            </a:prstGeom>
          </p:spPr>
        </p:pic>
      </p:grpSp>
      <p:grpSp>
        <p:nvGrpSpPr>
          <p:cNvPr id="113" name="Group 112"/>
          <p:cNvGrpSpPr/>
          <p:nvPr/>
        </p:nvGrpSpPr>
        <p:grpSpPr>
          <a:xfrm>
            <a:off x="3519715" y="4472744"/>
            <a:ext cx="483304" cy="480256"/>
            <a:chOff x="4801443" y="1124744"/>
            <a:chExt cx="829741" cy="824508"/>
          </a:xfrm>
        </p:grpSpPr>
        <p:sp>
          <p:nvSpPr>
            <p:cNvPr id="114" name="Träne 21"/>
            <p:cNvSpPr>
              <a:spLocks noChangeAspect="1"/>
            </p:cNvSpPr>
            <p:nvPr/>
          </p:nvSpPr>
          <p:spPr>
            <a:xfrm>
              <a:off x="4801443" y="1124744"/>
              <a:ext cx="829741" cy="824508"/>
            </a:xfrm>
            <a:prstGeom prst="teardrop">
              <a:avLst/>
            </a:prstGeom>
            <a:solidFill>
              <a:srgbClr val="AAACA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a:solidFill>
                  <a:schemeClr val="tx2"/>
                </a:solidFill>
                <a:latin typeface="Arial" panose="020B0604020202020204" pitchFamily="34" charset="0"/>
                <a:cs typeface="Arial" panose="020B0604020202020204" pitchFamily="34" charset="0"/>
              </a:endParaRPr>
            </a:p>
          </p:txBody>
        </p:sp>
        <p:pic>
          <p:nvPicPr>
            <p:cNvPr id="115" name="Grafik 2"/>
            <p:cNvPicPr>
              <a:picLocks noChangeAspect="1"/>
            </p:cNvPicPr>
            <p:nvPr/>
          </p:nvPicPr>
          <p:blipFill>
            <a:blip r:embed="rId34" cstate="print">
              <a:biLevel thresh="25000"/>
              <a:extLst>
                <a:ext uri="{BEBA8EAE-BF5A-486C-A8C5-ECC9F3942E4B}">
                  <a14:imgProps xmlns:a14="http://schemas.microsoft.com/office/drawing/2010/main">
                    <a14:imgLayer r:embed="rId35">
                      <a14:imgEffect>
                        <a14:colorTemperature colorTemp="15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4909557" y="1219200"/>
              <a:ext cx="648722" cy="647911"/>
            </a:xfrm>
            <a:prstGeom prst="rect">
              <a:avLst/>
            </a:prstGeom>
          </p:spPr>
        </p:pic>
      </p:grpSp>
      <p:sp>
        <p:nvSpPr>
          <p:cNvPr id="81" name="Textfeld 13">
            <a:extLst>
              <a:ext uri="{FF2B5EF4-FFF2-40B4-BE49-F238E27FC236}">
                <a16:creationId xmlns:a16="http://schemas.microsoft.com/office/drawing/2014/main" id="{5C8ED50F-3C34-472D-B1A3-CBEF14C8F990}"/>
              </a:ext>
            </a:extLst>
          </p:cNvPr>
          <p:cNvSpPr txBox="1"/>
          <p:nvPr/>
        </p:nvSpPr>
        <p:spPr>
          <a:xfrm>
            <a:off x="462162" y="1491734"/>
            <a:ext cx="1803730" cy="184666"/>
          </a:xfrm>
          <a:prstGeom prst="rect">
            <a:avLst/>
          </a:prstGeom>
          <a:noFill/>
        </p:spPr>
        <p:txBody>
          <a:bodyPr wrap="square" lIns="0" tIns="0" rIns="0" bIns="0" rtlCol="0">
            <a:spAutoFit/>
          </a:bodyPr>
          <a:lstStyle/>
          <a:p>
            <a:r>
              <a:rPr lang="en-US" sz="1200" b="1" cap="all">
                <a:solidFill>
                  <a:schemeClr val="tx2"/>
                </a:solidFill>
              </a:rPr>
              <a:t>MILLING SOLUTIONS</a:t>
            </a:r>
          </a:p>
        </p:txBody>
      </p:sp>
      <p:sp>
        <p:nvSpPr>
          <p:cNvPr id="82" name="Textfeld 13">
            <a:extLst>
              <a:ext uri="{FF2B5EF4-FFF2-40B4-BE49-F238E27FC236}">
                <a16:creationId xmlns:a16="http://schemas.microsoft.com/office/drawing/2014/main" id="{AAA7AECD-8040-4113-A8AE-AE6EB71EF01C}"/>
              </a:ext>
            </a:extLst>
          </p:cNvPr>
          <p:cNvSpPr txBox="1"/>
          <p:nvPr/>
        </p:nvSpPr>
        <p:spPr>
          <a:xfrm>
            <a:off x="2347803" y="1488040"/>
            <a:ext cx="1790239" cy="184666"/>
          </a:xfrm>
          <a:prstGeom prst="rect">
            <a:avLst/>
          </a:prstGeom>
          <a:noFill/>
        </p:spPr>
        <p:txBody>
          <a:bodyPr wrap="square" lIns="0" tIns="0" rIns="0" bIns="0" rtlCol="0">
            <a:spAutoFit/>
          </a:bodyPr>
          <a:lstStyle/>
          <a:p>
            <a:r>
              <a:rPr lang="en-US" sz="1200" b="1" cap="all">
                <a:solidFill>
                  <a:schemeClr val="tx2"/>
                </a:solidFill>
              </a:rPr>
              <a:t>Grain Quality</a:t>
            </a:r>
          </a:p>
        </p:txBody>
      </p:sp>
      <p:sp>
        <p:nvSpPr>
          <p:cNvPr id="83" name="Textfeld 11">
            <a:extLst>
              <a:ext uri="{FF2B5EF4-FFF2-40B4-BE49-F238E27FC236}">
                <a16:creationId xmlns:a16="http://schemas.microsoft.com/office/drawing/2014/main" id="{C6B10D5A-41B5-4210-8B8F-6C8FE7E8E62B}"/>
              </a:ext>
            </a:extLst>
          </p:cNvPr>
          <p:cNvSpPr txBox="1"/>
          <p:nvPr/>
        </p:nvSpPr>
        <p:spPr>
          <a:xfrm>
            <a:off x="4202134" y="1491305"/>
            <a:ext cx="1802914" cy="184666"/>
          </a:xfrm>
          <a:prstGeom prst="rect">
            <a:avLst/>
          </a:prstGeom>
          <a:noFill/>
        </p:spPr>
        <p:txBody>
          <a:bodyPr wrap="square" lIns="0" tIns="0" rIns="0" bIns="0" rtlCol="0">
            <a:spAutoFit/>
          </a:bodyPr>
          <a:lstStyle/>
          <a:p>
            <a:r>
              <a:rPr lang="en-US" sz="1200" b="1" cap="all" err="1">
                <a:solidFill>
                  <a:schemeClr val="tx2"/>
                </a:solidFill>
              </a:rPr>
              <a:t>DiGITAL</a:t>
            </a:r>
            <a:r>
              <a:rPr lang="en-US" sz="1200" b="1" cap="all">
                <a:solidFill>
                  <a:schemeClr val="tx2"/>
                </a:solidFill>
              </a:rPr>
              <a:t> TECH.</a:t>
            </a:r>
          </a:p>
        </p:txBody>
      </p:sp>
      <p:sp>
        <p:nvSpPr>
          <p:cNvPr id="90" name="Textfeld 7">
            <a:extLst>
              <a:ext uri="{FF2B5EF4-FFF2-40B4-BE49-F238E27FC236}">
                <a16:creationId xmlns:a16="http://schemas.microsoft.com/office/drawing/2014/main" id="{7C4CC6C9-28BC-4459-9EE2-0A9D502326C3}"/>
              </a:ext>
            </a:extLst>
          </p:cNvPr>
          <p:cNvSpPr txBox="1"/>
          <p:nvPr/>
        </p:nvSpPr>
        <p:spPr>
          <a:xfrm>
            <a:off x="6065738" y="1474155"/>
            <a:ext cx="1816145" cy="184666"/>
          </a:xfrm>
          <a:prstGeom prst="rect">
            <a:avLst/>
          </a:prstGeom>
          <a:noFill/>
        </p:spPr>
        <p:txBody>
          <a:bodyPr wrap="square" lIns="0" tIns="0" rIns="0" bIns="0" rtlCol="0">
            <a:spAutoFit/>
          </a:bodyPr>
          <a:lstStyle/>
          <a:p>
            <a:r>
              <a:rPr lang="en-US" sz="1200" b="1" cap="all">
                <a:solidFill>
                  <a:schemeClr val="tx2"/>
                </a:solidFill>
              </a:rPr>
              <a:t>value nutrition</a:t>
            </a:r>
          </a:p>
        </p:txBody>
      </p:sp>
      <p:sp>
        <p:nvSpPr>
          <p:cNvPr id="91" name="Textfeld 11">
            <a:extLst>
              <a:ext uri="{FF2B5EF4-FFF2-40B4-BE49-F238E27FC236}">
                <a16:creationId xmlns:a16="http://schemas.microsoft.com/office/drawing/2014/main" id="{6301230D-2546-4BEC-8CC4-F8F0167C7CA7}"/>
              </a:ext>
            </a:extLst>
          </p:cNvPr>
          <p:cNvSpPr txBox="1"/>
          <p:nvPr/>
        </p:nvSpPr>
        <p:spPr>
          <a:xfrm>
            <a:off x="7942702" y="1479204"/>
            <a:ext cx="1800134" cy="184666"/>
          </a:xfrm>
          <a:prstGeom prst="rect">
            <a:avLst/>
          </a:prstGeom>
          <a:noFill/>
        </p:spPr>
        <p:txBody>
          <a:bodyPr wrap="square" lIns="0" tIns="0" rIns="0" bIns="0" rtlCol="0">
            <a:spAutoFit/>
          </a:bodyPr>
          <a:lstStyle/>
          <a:p>
            <a:r>
              <a:rPr lang="en-US" sz="1200" b="1" cap="all">
                <a:solidFill>
                  <a:schemeClr val="tx2"/>
                </a:solidFill>
              </a:rPr>
              <a:t>WAFER</a:t>
            </a:r>
          </a:p>
        </p:txBody>
      </p:sp>
      <p:sp>
        <p:nvSpPr>
          <p:cNvPr id="92" name="Textfeld 11">
            <a:extLst>
              <a:ext uri="{FF2B5EF4-FFF2-40B4-BE49-F238E27FC236}">
                <a16:creationId xmlns:a16="http://schemas.microsoft.com/office/drawing/2014/main" id="{A783149B-1312-47F5-9078-BC618168A29C}"/>
              </a:ext>
            </a:extLst>
          </p:cNvPr>
          <p:cNvSpPr txBox="1"/>
          <p:nvPr/>
        </p:nvSpPr>
        <p:spPr>
          <a:xfrm>
            <a:off x="6088759" y="4127505"/>
            <a:ext cx="1663689" cy="184666"/>
          </a:xfrm>
          <a:prstGeom prst="rect">
            <a:avLst/>
          </a:prstGeom>
          <a:noFill/>
        </p:spPr>
        <p:txBody>
          <a:bodyPr wrap="square" lIns="0" tIns="0" rIns="0" bIns="0" rtlCol="0">
            <a:spAutoFit/>
          </a:bodyPr>
          <a:lstStyle/>
          <a:p>
            <a:r>
              <a:rPr lang="en-US" sz="1200" b="1" cap="all">
                <a:solidFill>
                  <a:schemeClr val="tx2"/>
                </a:solidFill>
              </a:rPr>
              <a:t>Die Casting</a:t>
            </a:r>
          </a:p>
        </p:txBody>
      </p:sp>
      <p:sp>
        <p:nvSpPr>
          <p:cNvPr id="93" name="Textfeld 11">
            <a:extLst>
              <a:ext uri="{FF2B5EF4-FFF2-40B4-BE49-F238E27FC236}">
                <a16:creationId xmlns:a16="http://schemas.microsoft.com/office/drawing/2014/main" id="{E9DA0D0A-C7F7-4F8C-97CD-A413124B7146}"/>
              </a:ext>
            </a:extLst>
          </p:cNvPr>
          <p:cNvSpPr txBox="1"/>
          <p:nvPr/>
        </p:nvSpPr>
        <p:spPr>
          <a:xfrm>
            <a:off x="7989356" y="4127505"/>
            <a:ext cx="1884782" cy="169277"/>
          </a:xfrm>
          <a:prstGeom prst="rect">
            <a:avLst/>
          </a:prstGeom>
          <a:noFill/>
        </p:spPr>
        <p:txBody>
          <a:bodyPr wrap="square" lIns="0" tIns="0" rIns="0" bIns="0" rtlCol="0">
            <a:spAutoFit/>
          </a:bodyPr>
          <a:lstStyle/>
          <a:p>
            <a:r>
              <a:rPr lang="en-US" sz="1100" b="1" cap="all">
                <a:solidFill>
                  <a:schemeClr val="tx2"/>
                </a:solidFill>
              </a:rPr>
              <a:t>Grinding &amp; Dispersion</a:t>
            </a:r>
          </a:p>
        </p:txBody>
      </p:sp>
      <p:sp>
        <p:nvSpPr>
          <p:cNvPr id="94" name="Textfeld 11">
            <a:extLst>
              <a:ext uri="{FF2B5EF4-FFF2-40B4-BE49-F238E27FC236}">
                <a16:creationId xmlns:a16="http://schemas.microsoft.com/office/drawing/2014/main" id="{16F59EAD-19A7-4632-95C1-7720C19D6F9C}"/>
              </a:ext>
            </a:extLst>
          </p:cNvPr>
          <p:cNvSpPr txBox="1"/>
          <p:nvPr/>
        </p:nvSpPr>
        <p:spPr>
          <a:xfrm>
            <a:off x="9903383" y="4112116"/>
            <a:ext cx="1285737" cy="184666"/>
          </a:xfrm>
          <a:prstGeom prst="rect">
            <a:avLst/>
          </a:prstGeom>
          <a:noFill/>
        </p:spPr>
        <p:txBody>
          <a:bodyPr wrap="none" lIns="0" tIns="0" rIns="0" bIns="0" rtlCol="0">
            <a:spAutoFit/>
          </a:bodyPr>
          <a:lstStyle/>
          <a:p>
            <a:r>
              <a:rPr lang="en-US" sz="1200" b="1" cap="all" err="1">
                <a:solidFill>
                  <a:schemeClr val="tx2"/>
                </a:solidFill>
              </a:rPr>
              <a:t>Leybold</a:t>
            </a:r>
            <a:r>
              <a:rPr lang="en-US" sz="1200" b="1" cap="all">
                <a:solidFill>
                  <a:schemeClr val="tx2"/>
                </a:solidFill>
              </a:rPr>
              <a:t>  optics</a:t>
            </a:r>
          </a:p>
        </p:txBody>
      </p:sp>
      <p:sp>
        <p:nvSpPr>
          <p:cNvPr id="98" name="Textfeld 11">
            <a:extLst>
              <a:ext uri="{FF2B5EF4-FFF2-40B4-BE49-F238E27FC236}">
                <a16:creationId xmlns:a16="http://schemas.microsoft.com/office/drawing/2014/main" id="{CA3771AA-4B37-4898-9BC8-9E9ECB5E12C5}"/>
              </a:ext>
            </a:extLst>
          </p:cNvPr>
          <p:cNvSpPr txBox="1"/>
          <p:nvPr/>
        </p:nvSpPr>
        <p:spPr>
          <a:xfrm>
            <a:off x="9868487" y="1468427"/>
            <a:ext cx="1800134" cy="184666"/>
          </a:xfrm>
          <a:prstGeom prst="rect">
            <a:avLst/>
          </a:prstGeom>
          <a:noFill/>
        </p:spPr>
        <p:txBody>
          <a:bodyPr wrap="square" lIns="0" tIns="0" rIns="0" bIns="0" rtlCol="0">
            <a:spAutoFit/>
          </a:bodyPr>
          <a:lstStyle/>
          <a:p>
            <a:r>
              <a:rPr lang="en-US" sz="1200" b="1" cap="all">
                <a:solidFill>
                  <a:schemeClr val="tx2"/>
                </a:solidFill>
              </a:rPr>
              <a:t>BISCUITS</a:t>
            </a:r>
          </a:p>
        </p:txBody>
      </p:sp>
      <p:sp>
        <p:nvSpPr>
          <p:cNvPr id="103" name="Textfeld 11">
            <a:extLst>
              <a:ext uri="{FF2B5EF4-FFF2-40B4-BE49-F238E27FC236}">
                <a16:creationId xmlns:a16="http://schemas.microsoft.com/office/drawing/2014/main" id="{FA2CB326-A98E-49BF-AF3B-ABA7E3EF86E4}"/>
              </a:ext>
            </a:extLst>
          </p:cNvPr>
          <p:cNvSpPr txBox="1"/>
          <p:nvPr/>
        </p:nvSpPr>
        <p:spPr>
          <a:xfrm>
            <a:off x="2288702" y="4158734"/>
            <a:ext cx="1800134" cy="184666"/>
          </a:xfrm>
          <a:prstGeom prst="rect">
            <a:avLst/>
          </a:prstGeom>
          <a:noFill/>
        </p:spPr>
        <p:txBody>
          <a:bodyPr wrap="square" lIns="0" tIns="0" rIns="0" bIns="0" rtlCol="0">
            <a:spAutoFit/>
          </a:bodyPr>
          <a:lstStyle/>
          <a:p>
            <a:r>
              <a:rPr lang="en-US" sz="1200" b="1" cap="all">
                <a:solidFill>
                  <a:schemeClr val="tx2"/>
                </a:solidFill>
              </a:rPr>
              <a:t>Confectionery</a:t>
            </a:r>
          </a:p>
        </p:txBody>
      </p:sp>
      <p:sp>
        <p:nvSpPr>
          <p:cNvPr id="105" name="Textfeld 11">
            <a:extLst>
              <a:ext uri="{FF2B5EF4-FFF2-40B4-BE49-F238E27FC236}">
                <a16:creationId xmlns:a16="http://schemas.microsoft.com/office/drawing/2014/main" id="{77470070-DD86-47D9-9C46-B3AFD42FE2E3}"/>
              </a:ext>
            </a:extLst>
          </p:cNvPr>
          <p:cNvSpPr txBox="1"/>
          <p:nvPr/>
        </p:nvSpPr>
        <p:spPr>
          <a:xfrm>
            <a:off x="4176522" y="4147957"/>
            <a:ext cx="1800134" cy="184666"/>
          </a:xfrm>
          <a:prstGeom prst="rect">
            <a:avLst/>
          </a:prstGeom>
          <a:noFill/>
        </p:spPr>
        <p:txBody>
          <a:bodyPr wrap="square" lIns="0" tIns="0" rIns="0" bIns="0" rtlCol="0">
            <a:spAutoFit/>
          </a:bodyPr>
          <a:lstStyle/>
          <a:p>
            <a:r>
              <a:rPr lang="en-US" sz="1200" b="1" cap="all">
                <a:solidFill>
                  <a:schemeClr val="tx2"/>
                </a:solidFill>
              </a:rPr>
              <a:t>Chocolate &amp; Coffee</a:t>
            </a:r>
          </a:p>
        </p:txBody>
      </p:sp>
      <p:sp>
        <p:nvSpPr>
          <p:cNvPr id="106" name="Textfeld 11">
            <a:extLst>
              <a:ext uri="{FF2B5EF4-FFF2-40B4-BE49-F238E27FC236}">
                <a16:creationId xmlns:a16="http://schemas.microsoft.com/office/drawing/2014/main" id="{47049D0F-9C67-49A7-8C2E-FA08A9D3AEC4}"/>
              </a:ext>
            </a:extLst>
          </p:cNvPr>
          <p:cNvSpPr txBox="1"/>
          <p:nvPr/>
        </p:nvSpPr>
        <p:spPr>
          <a:xfrm>
            <a:off x="470131" y="4138955"/>
            <a:ext cx="1800134" cy="184666"/>
          </a:xfrm>
          <a:prstGeom prst="rect">
            <a:avLst/>
          </a:prstGeom>
          <a:noFill/>
        </p:spPr>
        <p:txBody>
          <a:bodyPr wrap="square" lIns="0" tIns="0" rIns="0" bIns="0" rtlCol="0">
            <a:spAutoFit/>
          </a:bodyPr>
          <a:lstStyle/>
          <a:p>
            <a:r>
              <a:rPr lang="en-US" sz="1200" b="1" cap="all">
                <a:solidFill>
                  <a:schemeClr val="tx2"/>
                </a:solidFill>
              </a:rPr>
              <a:t>BAKERY</a:t>
            </a:r>
          </a:p>
        </p:txBody>
      </p:sp>
    </p:spTree>
    <p:extLst>
      <p:ext uri="{BB962C8B-B14F-4D97-AF65-F5344CB8AC3E}">
        <p14:creationId xmlns:p14="http://schemas.microsoft.com/office/powerpoint/2010/main" val="1175381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918CB9FB-A912-DCB3-BE67-C6A1A87A92E5}"/>
              </a:ext>
            </a:extLst>
          </p:cNvPr>
          <p:cNvSpPr>
            <a:spLocks noGrp="1"/>
          </p:cNvSpPr>
          <p:nvPr>
            <p:ph type="ftr" sz="quarter" idx="13"/>
          </p:nvPr>
        </p:nvSpPr>
        <p:spPr/>
        <p:txBody>
          <a:bodyPr/>
          <a:lstStyle/>
          <a:p>
            <a:r>
              <a:rPr lang="en-US"/>
              <a:t>Buhler Rice FLour Dry Milling Solution |  Buhler GF-Food</a:t>
            </a:r>
          </a:p>
        </p:txBody>
      </p:sp>
      <p:sp>
        <p:nvSpPr>
          <p:cNvPr id="3" name="灯片编号占位符 2">
            <a:extLst>
              <a:ext uri="{FF2B5EF4-FFF2-40B4-BE49-F238E27FC236}">
                <a16:creationId xmlns:a16="http://schemas.microsoft.com/office/drawing/2014/main" id="{D5AA98B2-907F-B168-A591-F840460B1F35}"/>
              </a:ext>
            </a:extLst>
          </p:cNvPr>
          <p:cNvSpPr>
            <a:spLocks noGrp="1"/>
          </p:cNvSpPr>
          <p:nvPr>
            <p:ph type="sldNum" sz="quarter" idx="14"/>
          </p:nvPr>
        </p:nvSpPr>
        <p:spPr/>
        <p:txBody>
          <a:bodyPr/>
          <a:lstStyle/>
          <a:p>
            <a:fld id="{0D1F56E0-B6F6-48D7-9539-F293D99B01ED}" type="slidenum">
              <a:rPr lang="en-US" smtClean="0"/>
              <a:pPr/>
              <a:t>4</a:t>
            </a:fld>
            <a:endParaRPr lang="en-US"/>
          </a:p>
        </p:txBody>
      </p:sp>
      <p:sp>
        <p:nvSpPr>
          <p:cNvPr id="61" name="图片占位符 60">
            <a:extLst>
              <a:ext uri="{FF2B5EF4-FFF2-40B4-BE49-F238E27FC236}">
                <a16:creationId xmlns:a16="http://schemas.microsoft.com/office/drawing/2014/main" id="{6B8BF5AB-EBCE-23E3-2835-42669E604317}"/>
              </a:ext>
            </a:extLst>
          </p:cNvPr>
          <p:cNvSpPr>
            <a:spLocks noGrp="1"/>
          </p:cNvSpPr>
          <p:nvPr>
            <p:ph type="pic" sz="quarter" idx="10"/>
          </p:nvPr>
        </p:nvSpPr>
        <p:spPr/>
      </p:sp>
      <p:pic>
        <p:nvPicPr>
          <p:cNvPr id="63" name="图片 62">
            <a:extLst>
              <a:ext uri="{FF2B5EF4-FFF2-40B4-BE49-F238E27FC236}">
                <a16:creationId xmlns:a16="http://schemas.microsoft.com/office/drawing/2014/main" id="{E6C7051D-63CF-D55B-EFCD-B78640912060}"/>
              </a:ext>
            </a:extLst>
          </p:cNvPr>
          <p:cNvPicPr>
            <a:picLocks noChangeAspect="1"/>
          </p:cNvPicPr>
          <p:nvPr/>
        </p:nvPicPr>
        <p:blipFill>
          <a:blip r:embed="rId3"/>
          <a:stretch>
            <a:fillRect/>
          </a:stretch>
        </p:blipFill>
        <p:spPr>
          <a:xfrm>
            <a:off x="168713" y="188695"/>
            <a:ext cx="11857748" cy="6480610"/>
          </a:xfrm>
          <a:prstGeom prst="rect">
            <a:avLst/>
          </a:prstGeom>
        </p:spPr>
      </p:pic>
      <p:sp>
        <p:nvSpPr>
          <p:cNvPr id="62" name="文本占位符 61">
            <a:extLst>
              <a:ext uri="{FF2B5EF4-FFF2-40B4-BE49-F238E27FC236}">
                <a16:creationId xmlns:a16="http://schemas.microsoft.com/office/drawing/2014/main" id="{7C641265-E6E4-03BC-F6D3-070B187D05E8}"/>
              </a:ext>
            </a:extLst>
          </p:cNvPr>
          <p:cNvSpPr>
            <a:spLocks noGrp="1"/>
          </p:cNvSpPr>
          <p:nvPr>
            <p:ph type="body" sz="quarter" idx="11"/>
          </p:nvPr>
        </p:nvSpPr>
        <p:spPr>
          <a:xfrm>
            <a:off x="168711" y="188912"/>
            <a:ext cx="11857747" cy="6480175"/>
          </a:xfrm>
        </p:spPr>
        <p:txBody>
          <a:bodyPr/>
          <a:lstStyle/>
          <a:p>
            <a:endParaRPr lang="en-US" dirty="0"/>
          </a:p>
        </p:txBody>
      </p:sp>
      <p:cxnSp>
        <p:nvCxnSpPr>
          <p:cNvPr id="7" name="Gerader Verbinder 90">
            <a:extLst>
              <a:ext uri="{FF2B5EF4-FFF2-40B4-BE49-F238E27FC236}">
                <a16:creationId xmlns:a16="http://schemas.microsoft.com/office/drawing/2014/main" id="{1A3A3473-E873-A672-A1FE-831741DC5C59}"/>
              </a:ext>
            </a:extLst>
          </p:cNvPr>
          <p:cNvCxnSpPr>
            <a:cxnSpLocks/>
            <a:endCxn id="5" idx="2"/>
          </p:cNvCxnSpPr>
          <p:nvPr/>
        </p:nvCxnSpPr>
        <p:spPr>
          <a:xfrm>
            <a:off x="2137870" y="3510785"/>
            <a:ext cx="7832148" cy="13831"/>
          </a:xfrm>
          <a:prstGeom prst="line">
            <a:avLst/>
          </a:prstGeom>
          <a:ln/>
        </p:spPr>
        <p:style>
          <a:lnRef idx="3">
            <a:schemeClr val="accent5"/>
          </a:lnRef>
          <a:fillRef idx="0">
            <a:schemeClr val="accent5"/>
          </a:fillRef>
          <a:effectRef idx="2">
            <a:schemeClr val="accent5"/>
          </a:effectRef>
          <a:fontRef idx="minor">
            <a:schemeClr val="tx1"/>
          </a:fontRef>
        </p:style>
      </p:cxnSp>
      <p:sp>
        <p:nvSpPr>
          <p:cNvPr id="11" name="Oval 6">
            <a:hlinkClick r:id="" action="ppaction://noaction"/>
            <a:extLst>
              <a:ext uri="{FF2B5EF4-FFF2-40B4-BE49-F238E27FC236}">
                <a16:creationId xmlns:a16="http://schemas.microsoft.com/office/drawing/2014/main" id="{60EC8356-91F6-D9EA-F36B-2C136102879E}"/>
              </a:ext>
            </a:extLst>
          </p:cNvPr>
          <p:cNvSpPr>
            <a:spLocks noChangeAspect="1"/>
          </p:cNvSpPr>
          <p:nvPr/>
        </p:nvSpPr>
        <p:spPr>
          <a:xfrm flipV="1">
            <a:off x="3529635" y="3420330"/>
            <a:ext cx="191234" cy="191234"/>
          </a:xfrm>
          <a:prstGeom prst="ellipse">
            <a:avLst/>
          </a:prstGeom>
          <a:solidFill>
            <a:srgbClr val="F9B000"/>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schemeClr val="bg1"/>
              </a:solidFill>
              <a:latin typeface="Arial Nova Light" panose="020B0304020202020204" pitchFamily="34" charset="0"/>
              <a:ea typeface="Arial" charset="0"/>
              <a:cs typeface="Arial" charset="0"/>
            </a:endParaRPr>
          </a:p>
        </p:txBody>
      </p:sp>
      <p:sp>
        <p:nvSpPr>
          <p:cNvPr id="12" name="Oval 6">
            <a:hlinkClick r:id="" action="ppaction://noaction"/>
            <a:extLst>
              <a:ext uri="{FF2B5EF4-FFF2-40B4-BE49-F238E27FC236}">
                <a16:creationId xmlns:a16="http://schemas.microsoft.com/office/drawing/2014/main" id="{6C4DD099-8C53-0118-076E-29336E420C37}"/>
              </a:ext>
            </a:extLst>
          </p:cNvPr>
          <p:cNvSpPr>
            <a:spLocks noChangeAspect="1"/>
          </p:cNvSpPr>
          <p:nvPr/>
        </p:nvSpPr>
        <p:spPr>
          <a:xfrm flipV="1">
            <a:off x="5191397" y="3428999"/>
            <a:ext cx="191234" cy="191234"/>
          </a:xfrm>
          <a:prstGeom prst="ellipse">
            <a:avLst/>
          </a:prstGeom>
          <a:solidFill>
            <a:srgbClr val="F9B000"/>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schemeClr val="bg1"/>
              </a:solidFill>
              <a:latin typeface="Arial Nova Light" panose="020B0304020202020204" pitchFamily="34" charset="0"/>
              <a:ea typeface="Arial" charset="0"/>
              <a:cs typeface="Arial" charset="0"/>
            </a:endParaRPr>
          </a:p>
        </p:txBody>
      </p:sp>
      <p:sp>
        <p:nvSpPr>
          <p:cNvPr id="14" name="Rechteck 57">
            <a:extLst>
              <a:ext uri="{FF2B5EF4-FFF2-40B4-BE49-F238E27FC236}">
                <a16:creationId xmlns:a16="http://schemas.microsoft.com/office/drawing/2014/main" id="{411EB006-DA20-F7E7-C018-81FCAD7B9987}"/>
              </a:ext>
            </a:extLst>
          </p:cNvPr>
          <p:cNvSpPr/>
          <p:nvPr/>
        </p:nvSpPr>
        <p:spPr>
          <a:xfrm>
            <a:off x="4784346" y="3649401"/>
            <a:ext cx="1024493" cy="307697"/>
          </a:xfrm>
          <a:prstGeom prst="rect">
            <a:avLst/>
          </a:prstGeom>
        </p:spPr>
        <p:txBody>
          <a:bodyPr wrap="square" lIns="0" rIns="0">
            <a:spAutoFit/>
          </a:bodyPr>
          <a:lstStyle/>
          <a:p>
            <a:pPr algn="ctr" defTabSz="914126">
              <a:defRPr/>
            </a:pPr>
            <a:r>
              <a:rPr lang="en-US" altLang="zh-CN" sz="1400" b="1">
                <a:solidFill>
                  <a:schemeClr val="bg1"/>
                </a:solidFill>
                <a:latin typeface="Arial Nova Light" panose="020B0304020202020204" pitchFamily="34" charset="0"/>
              </a:rPr>
              <a:t>Milling</a:t>
            </a:r>
          </a:p>
        </p:txBody>
      </p:sp>
      <p:sp>
        <p:nvSpPr>
          <p:cNvPr id="16" name="Rechteck 87">
            <a:hlinkClick r:id="" action="ppaction://noaction"/>
            <a:extLst>
              <a:ext uri="{FF2B5EF4-FFF2-40B4-BE49-F238E27FC236}">
                <a16:creationId xmlns:a16="http://schemas.microsoft.com/office/drawing/2014/main" id="{4FBEB030-F301-78AA-8CB1-006BAF0D6143}"/>
              </a:ext>
            </a:extLst>
          </p:cNvPr>
          <p:cNvSpPr/>
          <p:nvPr/>
        </p:nvSpPr>
        <p:spPr>
          <a:xfrm>
            <a:off x="3036062" y="3643091"/>
            <a:ext cx="1206094" cy="307777"/>
          </a:xfrm>
          <a:prstGeom prst="rect">
            <a:avLst/>
          </a:prstGeom>
        </p:spPr>
        <p:txBody>
          <a:bodyPr wrap="square" lIns="0" rIns="0">
            <a:spAutoFit/>
          </a:bodyPr>
          <a:lstStyle/>
          <a:p>
            <a:pPr algn="ctr" defTabSz="914126">
              <a:defRPr/>
            </a:pPr>
            <a:r>
              <a:rPr lang="en-US" sz="1400" b="1">
                <a:solidFill>
                  <a:schemeClr val="bg1"/>
                </a:solidFill>
                <a:latin typeface="Arial Nova Light" panose="020B0304020202020204" pitchFamily="34" charset="0"/>
              </a:rPr>
              <a:t>Rice Storage</a:t>
            </a:r>
          </a:p>
        </p:txBody>
      </p:sp>
      <p:sp>
        <p:nvSpPr>
          <p:cNvPr id="66" name="Title 1">
            <a:extLst>
              <a:ext uri="{FF2B5EF4-FFF2-40B4-BE49-F238E27FC236}">
                <a16:creationId xmlns:a16="http://schemas.microsoft.com/office/drawing/2014/main" id="{A25D7BF7-63BC-FA1C-A32D-77B400E20FCF}"/>
              </a:ext>
            </a:extLst>
          </p:cNvPr>
          <p:cNvSpPr txBox="1">
            <a:spLocks/>
          </p:cNvSpPr>
          <p:nvPr/>
        </p:nvSpPr>
        <p:spPr bwMode="gray">
          <a:xfrm>
            <a:off x="372951" y="296651"/>
            <a:ext cx="11449049" cy="936000"/>
          </a:xfrm>
          <a:prstGeom prst="rect">
            <a:avLst/>
          </a:prstGeom>
        </p:spPr>
        <p:txBody>
          <a:bodyPr vert="horz" lIns="0" tIns="0" rIns="0" bIns="0" rtlCol="0" anchor="t">
            <a:noAutofit/>
          </a:bodyPr>
          <a:lstStyle>
            <a:lvl1pPr algn="l" defTabSz="914400" rtl="0" eaLnBrk="1" latinLnBrk="0" hangingPunct="1">
              <a:spcBef>
                <a:spcPct val="0"/>
              </a:spcBef>
              <a:buNone/>
              <a:defRPr sz="3200" b="0" kern="1200">
                <a:solidFill>
                  <a:schemeClr val="bg1"/>
                </a:solidFill>
                <a:latin typeface="+mj-lt"/>
                <a:ea typeface="+mj-ea"/>
                <a:cs typeface="Arial" panose="020B0604020202020204" pitchFamily="34" charset="0"/>
              </a:defRPr>
            </a:lvl1pPr>
          </a:lstStyle>
          <a:p>
            <a:r>
              <a:rPr lang="en-US" sz="2800" dirty="0">
                <a:latin typeface="Arial Nova Light" panose="020B0304020202020204" pitchFamily="34" charset="0"/>
              </a:rPr>
              <a:t>Rice Flour Position in the Rice </a:t>
            </a:r>
            <a:r>
              <a:rPr lang="en-US" altLang="zh-CN" sz="2800" dirty="0">
                <a:latin typeface="Arial Nova Light" panose="020B0304020202020204" pitchFamily="34" charset="0"/>
              </a:rPr>
              <a:t>Production &amp; Nutrition V</a:t>
            </a:r>
            <a:r>
              <a:rPr lang="en-US" sz="2800" dirty="0">
                <a:latin typeface="Arial Nova Light" panose="020B0304020202020204" pitchFamily="34" charset="0"/>
              </a:rPr>
              <a:t>alue </a:t>
            </a:r>
            <a:r>
              <a:rPr lang="en-US" altLang="zh-CN" sz="2800" dirty="0">
                <a:latin typeface="Arial Nova Light" panose="020B0304020202020204" pitchFamily="34" charset="0"/>
              </a:rPr>
              <a:t>C</a:t>
            </a:r>
            <a:r>
              <a:rPr lang="en-US" sz="2800" dirty="0">
                <a:latin typeface="Arial Nova Light" panose="020B0304020202020204" pitchFamily="34" charset="0"/>
              </a:rPr>
              <a:t>hain</a:t>
            </a:r>
          </a:p>
        </p:txBody>
      </p:sp>
      <p:sp>
        <p:nvSpPr>
          <p:cNvPr id="5" name="Oval 6">
            <a:extLst>
              <a:ext uri="{FF2B5EF4-FFF2-40B4-BE49-F238E27FC236}">
                <a16:creationId xmlns:a16="http://schemas.microsoft.com/office/drawing/2014/main" id="{CD1EAFA0-4DF5-E349-F04C-ADF5D11317C1}"/>
              </a:ext>
            </a:extLst>
          </p:cNvPr>
          <p:cNvSpPr>
            <a:spLocks noChangeAspect="1"/>
          </p:cNvSpPr>
          <p:nvPr/>
        </p:nvSpPr>
        <p:spPr>
          <a:xfrm flipV="1">
            <a:off x="9970018" y="3428999"/>
            <a:ext cx="191234" cy="191234"/>
          </a:xfrm>
          <a:prstGeom prst="ellipse">
            <a:avLst/>
          </a:prstGeom>
          <a:solidFill>
            <a:srgbClr val="F9B000"/>
          </a:solidFill>
          <a:ln w="381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schemeClr val="bg1"/>
              </a:solidFill>
              <a:latin typeface="Arial Nova Light" panose="020B0304020202020204" pitchFamily="34" charset="0"/>
              <a:ea typeface="Arial" charset="0"/>
              <a:cs typeface="Arial" charset="0"/>
            </a:endParaRPr>
          </a:p>
        </p:txBody>
      </p:sp>
      <p:pic>
        <p:nvPicPr>
          <p:cNvPr id="25" name="图片 24">
            <a:extLst>
              <a:ext uri="{FF2B5EF4-FFF2-40B4-BE49-F238E27FC236}">
                <a16:creationId xmlns:a16="http://schemas.microsoft.com/office/drawing/2014/main" id="{7EDB573A-FBD2-4F00-2E25-4AD1BDBD7359}"/>
              </a:ext>
            </a:extLst>
          </p:cNvPr>
          <p:cNvPicPr>
            <a:picLocks noChangeAspect="1"/>
          </p:cNvPicPr>
          <p:nvPr/>
        </p:nvPicPr>
        <p:blipFill>
          <a:blip r:embed="rId4"/>
          <a:stretch>
            <a:fillRect/>
          </a:stretch>
        </p:blipFill>
        <p:spPr>
          <a:xfrm>
            <a:off x="10239099" y="3028161"/>
            <a:ext cx="1495837" cy="999811"/>
          </a:xfrm>
          <a:prstGeom prst="rect">
            <a:avLst/>
          </a:prstGeom>
        </p:spPr>
      </p:pic>
      <p:graphicFrame>
        <p:nvGraphicFramePr>
          <p:cNvPr id="119" name="Table 32">
            <a:extLst>
              <a:ext uri="{FF2B5EF4-FFF2-40B4-BE49-F238E27FC236}">
                <a16:creationId xmlns:a16="http://schemas.microsoft.com/office/drawing/2014/main" id="{1E6001DC-07B6-7000-D71A-0711CC7AE46B}"/>
              </a:ext>
            </a:extLst>
          </p:cNvPr>
          <p:cNvGraphicFramePr>
            <a:graphicFrameLocks noGrp="1"/>
          </p:cNvGraphicFramePr>
          <p:nvPr>
            <p:extLst>
              <p:ext uri="{D42A27DB-BD31-4B8C-83A1-F6EECF244321}">
                <p14:modId xmlns:p14="http://schemas.microsoft.com/office/powerpoint/2010/main" val="1549176117"/>
              </p:ext>
            </p:extLst>
          </p:nvPr>
        </p:nvGraphicFramePr>
        <p:xfrm>
          <a:off x="1898770" y="2049192"/>
          <a:ext cx="3117471" cy="843560"/>
        </p:xfrm>
        <a:graphic>
          <a:graphicData uri="http://schemas.openxmlformats.org/drawingml/2006/table">
            <a:tbl>
              <a:tblPr firstRow="1" bandRow="1">
                <a:tableStyleId>{5C22544A-7EE6-4342-B048-85BDC9FD1C3A}</a:tableStyleId>
              </a:tblPr>
              <a:tblGrid>
                <a:gridCol w="3117471">
                  <a:extLst>
                    <a:ext uri="{9D8B030D-6E8A-4147-A177-3AD203B41FA5}">
                      <a16:colId xmlns:a16="http://schemas.microsoft.com/office/drawing/2014/main" val="3152862366"/>
                    </a:ext>
                  </a:extLst>
                </a:gridCol>
              </a:tblGrid>
              <a:tr h="843560">
                <a:tc>
                  <a:txBody>
                    <a:bodyPr/>
                    <a:lstStyle/>
                    <a:p>
                      <a:pPr marL="285750" indent="-285750">
                        <a:buFontTx/>
                        <a:buChar char="-"/>
                      </a:pPr>
                      <a:r>
                        <a:rPr lang="en-US" sz="1400" b="0">
                          <a:solidFill>
                            <a:srgbClr val="000000"/>
                          </a:solidFill>
                          <a:latin typeface="Arial Nova Light" panose="020B0304020202020204" pitchFamily="34" charset="0"/>
                          <a:cs typeface="Arial" panose="020B0604020202020204" pitchFamily="34" charset="0"/>
                        </a:rPr>
                        <a:t>State of Art storage solution </a:t>
                      </a:r>
                    </a:p>
                    <a:p>
                      <a:pPr marL="285750" indent="-285750">
                        <a:buFontTx/>
                        <a:buChar char="-"/>
                      </a:pPr>
                      <a:r>
                        <a:rPr lang="en-US" sz="1400" b="0">
                          <a:solidFill>
                            <a:srgbClr val="000000"/>
                          </a:solidFill>
                          <a:latin typeface="Arial Nova Light" panose="020B0304020202020204" pitchFamily="34" charset="0"/>
                          <a:cs typeface="Arial" panose="020B0604020202020204" pitchFamily="34" charset="0"/>
                        </a:rPr>
                        <a:t>Drying optimization </a:t>
                      </a:r>
                    </a:p>
                    <a:p>
                      <a:pPr marL="285750" indent="-285750">
                        <a:buFontTx/>
                        <a:buChar char="-"/>
                      </a:pPr>
                      <a:r>
                        <a:rPr lang="en-US" sz="1400" b="0">
                          <a:solidFill>
                            <a:srgbClr val="000000"/>
                          </a:solidFill>
                          <a:latin typeface="Arial Nova Light" panose="020B0304020202020204" pitchFamily="34" charset="0"/>
                          <a:cs typeface="Arial" panose="020B0604020202020204" pitchFamily="34" charset="0"/>
                        </a:rPr>
                        <a:t>Enclosed conveyors for food safety </a:t>
                      </a:r>
                    </a:p>
                  </a:txBody>
                  <a:tcPr marL="91416" marR="91416" marT="45708" marB="4570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1">
                        <a:alpha val="51000"/>
                      </a:schemeClr>
                    </a:solidFill>
                  </a:tcPr>
                </a:tc>
                <a:extLst>
                  <a:ext uri="{0D108BD9-81ED-4DB2-BD59-A6C34878D82A}">
                    <a16:rowId xmlns:a16="http://schemas.microsoft.com/office/drawing/2014/main" val="1177028902"/>
                  </a:ext>
                </a:extLst>
              </a:tr>
            </a:tbl>
          </a:graphicData>
        </a:graphic>
      </p:graphicFrame>
      <p:cxnSp>
        <p:nvCxnSpPr>
          <p:cNvPr id="120" name="Connector: Elbow 27">
            <a:extLst>
              <a:ext uri="{FF2B5EF4-FFF2-40B4-BE49-F238E27FC236}">
                <a16:creationId xmlns:a16="http://schemas.microsoft.com/office/drawing/2014/main" id="{BF4E216C-16BE-484A-BD0D-B9EF65A77AD8}"/>
              </a:ext>
            </a:extLst>
          </p:cNvPr>
          <p:cNvCxnSpPr>
            <a:cxnSpLocks/>
          </p:cNvCxnSpPr>
          <p:nvPr/>
        </p:nvCxnSpPr>
        <p:spPr>
          <a:xfrm rot="5400000">
            <a:off x="3378337" y="3170417"/>
            <a:ext cx="493053" cy="778"/>
          </a:xfrm>
          <a:prstGeom prst="bentConnector3">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39" name="Group 1030">
            <a:extLst>
              <a:ext uri="{FF2B5EF4-FFF2-40B4-BE49-F238E27FC236}">
                <a16:creationId xmlns:a16="http://schemas.microsoft.com/office/drawing/2014/main" id="{482EBB11-FF89-6F76-9203-91218887E52B}"/>
              </a:ext>
            </a:extLst>
          </p:cNvPr>
          <p:cNvGrpSpPr/>
          <p:nvPr/>
        </p:nvGrpSpPr>
        <p:grpSpPr>
          <a:xfrm>
            <a:off x="7948567" y="4490521"/>
            <a:ext cx="736721" cy="746409"/>
            <a:chOff x="9357797" y="4943199"/>
            <a:chExt cx="736721" cy="746409"/>
          </a:xfrm>
        </p:grpSpPr>
        <p:pic>
          <p:nvPicPr>
            <p:cNvPr id="140" name="Picture 4" descr="Indian Rice Bran at Rs 14/kilogram in Barasat | ID: 15205880533">
              <a:hlinkClick r:id="" action="ppaction://noaction"/>
              <a:extLst>
                <a:ext uri="{FF2B5EF4-FFF2-40B4-BE49-F238E27FC236}">
                  <a16:creationId xmlns:a16="http://schemas.microsoft.com/office/drawing/2014/main" id="{91B0F97D-D761-9B2D-CD2E-491E5A5EEF7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6381" b="16295"/>
            <a:stretch/>
          </p:blipFill>
          <p:spPr bwMode="auto">
            <a:xfrm>
              <a:off x="9357797" y="4943199"/>
              <a:ext cx="725152" cy="475390"/>
            </a:xfrm>
            <a:prstGeom prst="rect">
              <a:avLst/>
            </a:prstGeom>
            <a:noFill/>
            <a:extLst>
              <a:ext uri="{909E8E84-426E-40DD-AFC4-6F175D3DCCD1}">
                <a14:hiddenFill xmlns:a14="http://schemas.microsoft.com/office/drawing/2010/main">
                  <a:solidFill>
                    <a:srgbClr val="FFFFFF"/>
                  </a:solidFill>
                </a14:hiddenFill>
              </a:ext>
            </a:extLst>
          </p:spPr>
        </p:pic>
        <p:sp>
          <p:nvSpPr>
            <p:cNvPr id="141" name="Rechteck 96">
              <a:extLst>
                <a:ext uri="{FF2B5EF4-FFF2-40B4-BE49-F238E27FC236}">
                  <a16:creationId xmlns:a16="http://schemas.microsoft.com/office/drawing/2014/main" id="{FC6C150C-0AE1-F3DA-E589-7B27D4AD3551}"/>
                </a:ext>
              </a:extLst>
            </p:cNvPr>
            <p:cNvSpPr/>
            <p:nvPr/>
          </p:nvSpPr>
          <p:spPr>
            <a:xfrm>
              <a:off x="9369366" y="5427998"/>
              <a:ext cx="725152" cy="261610"/>
            </a:xfrm>
            <a:prstGeom prst="rect">
              <a:avLst/>
            </a:prstGeom>
          </p:spPr>
          <p:txBody>
            <a:bodyPr wrap="square" lIns="0" tIns="45720" rIns="0" bIns="45720" anchor="t">
              <a:spAutoFit/>
            </a:bodyPr>
            <a:lstStyle/>
            <a:p>
              <a:pPr algn="ctr" defTabSz="914126">
                <a:defRPr/>
              </a:pPr>
              <a:r>
                <a:rPr lang="en-US" sz="1100" b="1">
                  <a:highlight>
                    <a:srgbClr val="FFFF00"/>
                  </a:highlight>
                  <a:latin typeface="Arial Nova Light"/>
                </a:rPr>
                <a:t>Rice bran</a:t>
              </a:r>
              <a:endParaRPr lang="en-US" sz="1100" b="1">
                <a:highlight>
                  <a:srgbClr val="FFFF00"/>
                </a:highlight>
                <a:latin typeface="Arial Nova Light" panose="020B0304020202020204" pitchFamily="34" charset="0"/>
              </a:endParaRPr>
            </a:p>
          </p:txBody>
        </p:sp>
      </p:grpSp>
      <p:grpSp>
        <p:nvGrpSpPr>
          <p:cNvPr id="150" name="Group 42">
            <a:extLst>
              <a:ext uri="{FF2B5EF4-FFF2-40B4-BE49-F238E27FC236}">
                <a16:creationId xmlns:a16="http://schemas.microsoft.com/office/drawing/2014/main" id="{E04D965F-B144-3B16-3D5E-B674AA0DB265}"/>
              </a:ext>
            </a:extLst>
          </p:cNvPr>
          <p:cNvGrpSpPr/>
          <p:nvPr/>
        </p:nvGrpSpPr>
        <p:grpSpPr>
          <a:xfrm>
            <a:off x="9045553" y="4487895"/>
            <a:ext cx="764102" cy="741900"/>
            <a:chOff x="8863051" y="168771"/>
            <a:chExt cx="739581" cy="882781"/>
          </a:xfrm>
        </p:grpSpPr>
        <p:pic>
          <p:nvPicPr>
            <p:cNvPr id="151" name="Picture 4" descr="Rice Grains Icon Shadow Stock Vector (Royalty Free) 1505352512 |  Shutterstock">
              <a:hlinkClick r:id="" action="ppaction://noaction"/>
              <a:extLst>
                <a:ext uri="{FF2B5EF4-FFF2-40B4-BE49-F238E27FC236}">
                  <a16:creationId xmlns:a16="http://schemas.microsoft.com/office/drawing/2014/main" id="{25315465-8968-5FE1-432C-B357F2D6FC1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4651" t="9015" r="15813" b="24414"/>
            <a:stretch/>
          </p:blipFill>
          <p:spPr bwMode="auto">
            <a:xfrm>
              <a:off x="8874552" y="168771"/>
              <a:ext cx="701881" cy="549204"/>
            </a:xfrm>
            <a:prstGeom prst="rect">
              <a:avLst/>
            </a:prstGeom>
            <a:noFill/>
            <a:extLst>
              <a:ext uri="{909E8E84-426E-40DD-AFC4-6F175D3DCCD1}">
                <a14:hiddenFill xmlns:a14="http://schemas.microsoft.com/office/drawing/2010/main">
                  <a:solidFill>
                    <a:srgbClr val="FFFFFF"/>
                  </a:solidFill>
                </a14:hiddenFill>
              </a:ext>
            </a:extLst>
          </p:spPr>
        </p:pic>
        <p:sp>
          <p:nvSpPr>
            <p:cNvPr id="152" name="Rechteck 96">
              <a:extLst>
                <a:ext uri="{FF2B5EF4-FFF2-40B4-BE49-F238E27FC236}">
                  <a16:creationId xmlns:a16="http://schemas.microsoft.com/office/drawing/2014/main" id="{F9000E80-755B-ED93-DEE9-E8494FCA843B}"/>
                </a:ext>
              </a:extLst>
            </p:cNvPr>
            <p:cNvSpPr/>
            <p:nvPr/>
          </p:nvSpPr>
          <p:spPr>
            <a:xfrm>
              <a:off x="8863051" y="740264"/>
              <a:ext cx="739581" cy="311288"/>
            </a:xfrm>
            <a:prstGeom prst="rect">
              <a:avLst/>
            </a:prstGeom>
          </p:spPr>
          <p:txBody>
            <a:bodyPr wrap="square" lIns="0" tIns="45720" rIns="0" bIns="45720" anchor="t">
              <a:spAutoFit/>
            </a:bodyPr>
            <a:lstStyle/>
            <a:p>
              <a:pPr algn="ctr" defTabSz="914126">
                <a:defRPr/>
              </a:pPr>
              <a:r>
                <a:rPr lang="en-US" sz="1100" b="1">
                  <a:highlight>
                    <a:srgbClr val="FFFF00"/>
                  </a:highlight>
                  <a:latin typeface="Arial Nova Light"/>
                </a:rPr>
                <a:t>Broken </a:t>
              </a:r>
              <a:r>
                <a:rPr lang="en-US" altLang="zh-CN" sz="1100" b="1">
                  <a:highlight>
                    <a:srgbClr val="FFFF00"/>
                  </a:highlight>
                  <a:latin typeface="Arial Nova Light"/>
                </a:rPr>
                <a:t>Rice</a:t>
              </a:r>
              <a:endParaRPr lang="en-US" sz="1100" b="1">
                <a:highlight>
                  <a:srgbClr val="FFFF00"/>
                </a:highlight>
                <a:latin typeface="Arial Nova Light" panose="020B0304020202020204" pitchFamily="34" charset="0"/>
              </a:endParaRPr>
            </a:p>
          </p:txBody>
        </p:sp>
      </p:grpSp>
      <p:grpSp>
        <p:nvGrpSpPr>
          <p:cNvPr id="1025" name="组合 1024">
            <a:extLst>
              <a:ext uri="{FF2B5EF4-FFF2-40B4-BE49-F238E27FC236}">
                <a16:creationId xmlns:a16="http://schemas.microsoft.com/office/drawing/2014/main" id="{08D9F8D3-479A-0751-D311-376BCAE91020}"/>
              </a:ext>
            </a:extLst>
          </p:cNvPr>
          <p:cNvGrpSpPr/>
          <p:nvPr/>
        </p:nvGrpSpPr>
        <p:grpSpPr>
          <a:xfrm>
            <a:off x="6811949" y="4490975"/>
            <a:ext cx="1024346" cy="759359"/>
            <a:chOff x="9240901" y="3952571"/>
            <a:chExt cx="1024346" cy="759359"/>
          </a:xfrm>
        </p:grpSpPr>
        <p:pic>
          <p:nvPicPr>
            <p:cNvPr id="153" name="Picture 6" descr="Rice Color Sorter Machine - Sky Sorter">
              <a:hlinkClick r:id="" action="ppaction://noaction"/>
              <a:extLst>
                <a:ext uri="{FF2B5EF4-FFF2-40B4-BE49-F238E27FC236}">
                  <a16:creationId xmlns:a16="http://schemas.microsoft.com/office/drawing/2014/main" id="{712081E2-F010-39B5-9EFF-30C0C714B2D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428641" y="3952571"/>
              <a:ext cx="604770" cy="471305"/>
            </a:xfrm>
            <a:prstGeom prst="rect">
              <a:avLst/>
            </a:prstGeom>
            <a:noFill/>
            <a:extLst>
              <a:ext uri="{909E8E84-426E-40DD-AFC4-6F175D3DCCD1}">
                <a14:hiddenFill xmlns:a14="http://schemas.microsoft.com/office/drawing/2010/main">
                  <a:solidFill>
                    <a:srgbClr val="FFFFFF"/>
                  </a:solidFill>
                </a14:hiddenFill>
              </a:ext>
            </a:extLst>
          </p:spPr>
        </p:pic>
        <p:sp>
          <p:nvSpPr>
            <p:cNvPr id="154" name="Rechteck 96">
              <a:extLst>
                <a:ext uri="{FF2B5EF4-FFF2-40B4-BE49-F238E27FC236}">
                  <a16:creationId xmlns:a16="http://schemas.microsoft.com/office/drawing/2014/main" id="{91BE19A7-AC79-8959-CA7F-2546E4055B4D}"/>
                </a:ext>
              </a:extLst>
            </p:cNvPr>
            <p:cNvSpPr/>
            <p:nvPr/>
          </p:nvSpPr>
          <p:spPr>
            <a:xfrm>
              <a:off x="9240901" y="4450320"/>
              <a:ext cx="1024346" cy="261610"/>
            </a:xfrm>
            <a:prstGeom prst="rect">
              <a:avLst/>
            </a:prstGeom>
          </p:spPr>
          <p:txBody>
            <a:bodyPr wrap="square" lIns="0" tIns="45720" rIns="0" bIns="45720" anchor="t">
              <a:spAutoFit/>
            </a:bodyPr>
            <a:lstStyle/>
            <a:p>
              <a:pPr algn="ctr" defTabSz="914126">
                <a:defRPr/>
              </a:pPr>
              <a:r>
                <a:rPr lang="en-US" altLang="zh-CN" sz="1100" b="1">
                  <a:highlight>
                    <a:srgbClr val="FFFF00"/>
                  </a:highlight>
                  <a:latin typeface="Arial Nova Light"/>
                </a:rPr>
                <a:t>Sorting Rejects</a:t>
              </a:r>
              <a:endParaRPr lang="en-US" sz="1100" b="1">
                <a:highlight>
                  <a:srgbClr val="FFFF00"/>
                </a:highlight>
                <a:latin typeface="Arial Nova Light" panose="020B0304020202020204" pitchFamily="34" charset="0"/>
              </a:endParaRPr>
            </a:p>
          </p:txBody>
        </p:sp>
      </p:grpSp>
      <p:sp>
        <p:nvSpPr>
          <p:cNvPr id="166" name="文本框 165">
            <a:extLst>
              <a:ext uri="{FF2B5EF4-FFF2-40B4-BE49-F238E27FC236}">
                <a16:creationId xmlns:a16="http://schemas.microsoft.com/office/drawing/2014/main" id="{6C2B4062-C5EC-D27A-96E5-EAC559F1F03C}"/>
              </a:ext>
            </a:extLst>
          </p:cNvPr>
          <p:cNvSpPr txBox="1"/>
          <p:nvPr/>
        </p:nvSpPr>
        <p:spPr>
          <a:xfrm>
            <a:off x="9743636" y="2525188"/>
            <a:ext cx="296556" cy="246221"/>
          </a:xfrm>
          <a:prstGeom prst="rect">
            <a:avLst/>
          </a:prstGeom>
          <a:noFill/>
        </p:spPr>
        <p:txBody>
          <a:bodyPr wrap="none" lIns="0" tIns="0" rIns="0" bIns="0" rtlCol="0">
            <a:spAutoFit/>
          </a:bodyPr>
          <a:lstStyle/>
          <a:p>
            <a:r>
              <a:rPr lang="en-US" sz="1600" b="1">
                <a:solidFill>
                  <a:srgbClr val="FF0000"/>
                </a:solidFill>
                <a:latin typeface="Arial" panose="020B0604020202020204" pitchFamily="34" charset="0"/>
                <a:cs typeface="Arial" panose="020B0604020202020204" pitchFamily="34" charset="0"/>
              </a:rPr>
              <a:t>5%</a:t>
            </a:r>
          </a:p>
        </p:txBody>
      </p:sp>
      <p:grpSp>
        <p:nvGrpSpPr>
          <p:cNvPr id="1024" name="组合 1023">
            <a:extLst>
              <a:ext uri="{FF2B5EF4-FFF2-40B4-BE49-F238E27FC236}">
                <a16:creationId xmlns:a16="http://schemas.microsoft.com/office/drawing/2014/main" id="{2392468D-F3E9-2932-6665-C334AE938A18}"/>
              </a:ext>
            </a:extLst>
          </p:cNvPr>
          <p:cNvGrpSpPr/>
          <p:nvPr/>
        </p:nvGrpSpPr>
        <p:grpSpPr>
          <a:xfrm>
            <a:off x="5721728" y="4487895"/>
            <a:ext cx="871730" cy="749035"/>
            <a:chOff x="5904599" y="3940712"/>
            <a:chExt cx="871730" cy="749035"/>
          </a:xfrm>
        </p:grpSpPr>
        <p:pic>
          <p:nvPicPr>
            <p:cNvPr id="168" name="图片 167">
              <a:extLst>
                <a:ext uri="{FF2B5EF4-FFF2-40B4-BE49-F238E27FC236}">
                  <a16:creationId xmlns:a16="http://schemas.microsoft.com/office/drawing/2014/main" id="{1FB5FC56-B3A7-14B2-3035-B57DFF87DF44}"/>
                </a:ext>
              </a:extLst>
            </p:cNvPr>
            <p:cNvPicPr>
              <a:picLocks noChangeAspect="1"/>
            </p:cNvPicPr>
            <p:nvPr/>
          </p:nvPicPr>
          <p:blipFill>
            <a:blip r:embed="rId8"/>
            <a:stretch>
              <a:fillRect/>
            </a:stretch>
          </p:blipFill>
          <p:spPr>
            <a:xfrm flipH="1">
              <a:off x="5904599" y="3940712"/>
              <a:ext cx="871730" cy="461559"/>
            </a:xfrm>
            <a:prstGeom prst="rect">
              <a:avLst/>
            </a:prstGeom>
          </p:spPr>
        </p:pic>
        <p:sp>
          <p:nvSpPr>
            <p:cNvPr id="169" name="Rechteck 96">
              <a:extLst>
                <a:ext uri="{FF2B5EF4-FFF2-40B4-BE49-F238E27FC236}">
                  <a16:creationId xmlns:a16="http://schemas.microsoft.com/office/drawing/2014/main" id="{0A5C1F75-2EBF-D445-D3DB-752B7D71D1AF}"/>
                </a:ext>
              </a:extLst>
            </p:cNvPr>
            <p:cNvSpPr/>
            <p:nvPr/>
          </p:nvSpPr>
          <p:spPr>
            <a:xfrm>
              <a:off x="5945982" y="4428137"/>
              <a:ext cx="725152" cy="261610"/>
            </a:xfrm>
            <a:prstGeom prst="rect">
              <a:avLst/>
            </a:prstGeom>
          </p:spPr>
          <p:txBody>
            <a:bodyPr wrap="square" lIns="0" tIns="45720" rIns="0" bIns="45720" anchor="t">
              <a:spAutoFit/>
            </a:bodyPr>
            <a:lstStyle/>
            <a:p>
              <a:pPr algn="ctr" defTabSz="914126">
                <a:defRPr/>
              </a:pPr>
              <a:r>
                <a:rPr lang="en-US" altLang="zh-CN" sz="1100" b="1">
                  <a:highlight>
                    <a:srgbClr val="FFFF00"/>
                  </a:highlight>
                  <a:latin typeface="Arial Nova Light"/>
                </a:rPr>
                <a:t>Husk</a:t>
              </a:r>
              <a:endParaRPr lang="en-US" sz="1100" b="1">
                <a:highlight>
                  <a:srgbClr val="FFFF00"/>
                </a:highlight>
                <a:latin typeface="Arial Nova Light" panose="020B0304020202020204" pitchFamily="34" charset="0"/>
              </a:endParaRPr>
            </a:p>
          </p:txBody>
        </p:sp>
      </p:grpSp>
      <p:pic>
        <p:nvPicPr>
          <p:cNvPr id="170" name="Picture 37">
            <a:extLst>
              <a:ext uri="{FF2B5EF4-FFF2-40B4-BE49-F238E27FC236}">
                <a16:creationId xmlns:a16="http://schemas.microsoft.com/office/drawing/2014/main" id="{DDC4577F-16CD-ACE8-D75C-569F64DE2A2F}"/>
              </a:ext>
            </a:extLst>
          </p:cNvPr>
          <p:cNvPicPr>
            <a:picLocks noChangeAspect="1"/>
          </p:cNvPicPr>
          <p:nvPr/>
        </p:nvPicPr>
        <p:blipFill>
          <a:blip r:embed="rId9"/>
          <a:stretch>
            <a:fillRect/>
          </a:stretch>
        </p:blipFill>
        <p:spPr>
          <a:xfrm>
            <a:off x="4262412" y="5570303"/>
            <a:ext cx="677132" cy="398925"/>
          </a:xfrm>
          <a:prstGeom prst="rect">
            <a:avLst/>
          </a:prstGeom>
        </p:spPr>
      </p:pic>
      <p:sp>
        <p:nvSpPr>
          <p:cNvPr id="171" name="Rechteck 96">
            <a:extLst>
              <a:ext uri="{FF2B5EF4-FFF2-40B4-BE49-F238E27FC236}">
                <a16:creationId xmlns:a16="http://schemas.microsoft.com/office/drawing/2014/main" id="{7B231B7C-8A3E-C3C6-1362-E33413AF8D60}"/>
              </a:ext>
            </a:extLst>
          </p:cNvPr>
          <p:cNvSpPr/>
          <p:nvPr/>
        </p:nvSpPr>
        <p:spPr>
          <a:xfrm>
            <a:off x="7026521" y="5967480"/>
            <a:ext cx="1066513" cy="276999"/>
          </a:xfrm>
          <a:prstGeom prst="rect">
            <a:avLst/>
          </a:prstGeom>
        </p:spPr>
        <p:txBody>
          <a:bodyPr wrap="square" lIns="0" rIns="0">
            <a:spAutoFit/>
          </a:bodyPr>
          <a:lstStyle/>
          <a:p>
            <a:pPr algn="ctr" defTabSz="914126">
              <a:defRPr/>
            </a:pPr>
            <a:r>
              <a:rPr lang="en-US" sz="1200">
                <a:solidFill>
                  <a:schemeClr val="bg1"/>
                </a:solidFill>
                <a:latin typeface="Arial Nova Light" panose="020B0304020202020204" pitchFamily="34" charset="0"/>
              </a:rPr>
              <a:t>Animal Feed</a:t>
            </a:r>
          </a:p>
        </p:txBody>
      </p:sp>
      <p:pic>
        <p:nvPicPr>
          <p:cNvPr id="172" name="Picture 23">
            <a:extLst>
              <a:ext uri="{FF2B5EF4-FFF2-40B4-BE49-F238E27FC236}">
                <a16:creationId xmlns:a16="http://schemas.microsoft.com/office/drawing/2014/main" id="{349931B8-0B59-4711-4BB1-A88B41EA5486}"/>
              </a:ext>
            </a:extLst>
          </p:cNvPr>
          <p:cNvPicPr>
            <a:picLocks noChangeAspect="1"/>
          </p:cNvPicPr>
          <p:nvPr/>
        </p:nvPicPr>
        <p:blipFill rotWithShape="1">
          <a:blip r:embed="rId10">
            <a:extLst>
              <a:ext uri="{BEBA8EAE-BF5A-486C-A8C5-ECC9F3942E4B}">
                <a14:imgProps xmlns:a14="http://schemas.microsoft.com/office/drawing/2010/main">
                  <a14:imgLayer r:embed="rId11">
                    <a14:imgEffect>
                      <a14:backgroundRemoval t="26596" b="76950" l="7123" r="90959">
                        <a14:foregroundMark x1="29315" y1="43617" x2="58082" y2="42199"/>
                        <a14:foregroundMark x1="50411" y1="28723" x2="44932" y2="26596"/>
                        <a14:foregroundMark x1="56986" y1="47872" x2="41096" y2="45035"/>
                        <a14:foregroundMark x1="60274" y1="54965" x2="63014" y2="47163"/>
                        <a14:foregroundMark x1="89863" y1="74823" x2="86575" y2="74823"/>
                        <a14:foregroundMark x1="21644" y1="47163" x2="43288" y2="38652"/>
                        <a14:foregroundMark x1="11233" y1="66312" x2="21644" y2="42199"/>
                        <a14:foregroundMark x1="17260" y1="47872" x2="7397" y2="65603"/>
                        <a14:foregroundMark x1="44384" y1="40780" x2="56438" y2="40780"/>
                        <a14:foregroundMark x1="52603" y1="36525" x2="20000" y2="50709"/>
                        <a14:foregroundMark x1="63562" y1="48582" x2="23288" y2="43617"/>
                        <a14:foregroundMark x1="77808" y1="70567" x2="90959" y2="76950"/>
                      </a14:backgroundRemoval>
                    </a14:imgEffect>
                  </a14:imgLayer>
                </a14:imgProps>
              </a:ext>
            </a:extLst>
          </a:blip>
          <a:srcRect t="21100" b="16767"/>
          <a:stretch/>
        </p:blipFill>
        <p:spPr>
          <a:xfrm>
            <a:off x="7083629" y="5582253"/>
            <a:ext cx="792404" cy="380389"/>
          </a:xfrm>
          <a:prstGeom prst="rect">
            <a:avLst/>
          </a:prstGeom>
        </p:spPr>
      </p:pic>
      <p:pic>
        <p:nvPicPr>
          <p:cNvPr id="173" name="Picture 6" descr="Silica molecule icon stock illustration. Illustration of biology - 169007003">
            <a:extLst>
              <a:ext uri="{FF2B5EF4-FFF2-40B4-BE49-F238E27FC236}">
                <a16:creationId xmlns:a16="http://schemas.microsoft.com/office/drawing/2014/main" id="{8D855369-F10A-0DD5-B9A5-7BFB9DE1815C}"/>
              </a:ext>
            </a:extLst>
          </p:cNvPr>
          <p:cNvPicPr>
            <a:picLocks noChangeAspect="1" noChangeArrowheads="1"/>
          </p:cNvPicPr>
          <p:nvPr/>
        </p:nvPicPr>
        <p:blipFill rotWithShape="1">
          <a:blip r:embed="rId12">
            <a:extLst>
              <a:ext uri="{BEBA8EAE-BF5A-486C-A8C5-ECC9F3942E4B}">
                <a14:imgProps xmlns:a14="http://schemas.microsoft.com/office/drawing/2010/main">
                  <a14:imgLayer r:embed="rId13">
                    <a14:imgEffect>
                      <a14:backgroundRemoval t="10000" b="90000" l="8500" r="99000">
                        <a14:foregroundMark x1="59655" y1="35525" x2="39055" y2="56287"/>
                        <a14:foregroundMark x1="61263" y1="33905" x2="60130" y2="35047"/>
                        <a14:foregroundMark x1="69188" y1="25917" x2="61492" y2="33674"/>
                        <a14:foregroundMark x1="82750" y1="12250" x2="78725" y2="16306"/>
                        <a14:foregroundMark x1="65487" y1="41891" x2="99000" y2="58875"/>
                        <a14:foregroundMark x1="52609" y1="35366" x2="63516" y2="40893"/>
                        <a14:foregroundMark x1="15875" y1="16750" x2="49125" y2="33600"/>
                        <a14:foregroundMark x1="63929" y1="43699" x2="13375" y2="41375"/>
                        <a14:foregroundMark x1="89500" y1="44875" x2="64687" y2="43734"/>
                        <a14:foregroundMark x1="65485" y1="41886" x2="77125" y2="42000"/>
                        <a14:foregroundMark x1="64082" y1="41872" x2="64563" y2="41877"/>
                        <a14:foregroundMark x1="13375" y1="41375" x2="63659" y2="41868"/>
                        <a14:foregroundMark x1="80500" y1="56125" x2="41625" y2="43750"/>
                        <a14:foregroundMark x1="8500" y1="49375" x2="22500" y2="63375"/>
                        <a14:foregroundMark x1="28750" y1="46000" x2="22000" y2="60625"/>
                        <a14:foregroundMark x1="74250" y1="59500" x2="72000" y2="54375"/>
                        <a14:foregroundMark x1="57375" y1="48250" x2="50125" y2="44250"/>
                        <a14:foregroundMark x1="55125" y1="50500" x2="49500" y2="62875"/>
                        <a14:foregroundMark x1="22500" y1="47625" x2="19750" y2="56625"/>
                        <a14:backgroundMark x1="85500" y1="74625" x2="38250" y2="78000"/>
                        <a14:backgroundMark x1="68125" y1="39750" x2="61875" y2="35250"/>
                        <a14:backgroundMark x1="20375" y1="77125" x2="32375" y2="64125"/>
                        <a14:backgroundMark x1="35125" y1="58500" x2="36250" y2="62750"/>
                        <a14:backgroundMark x1="36875" y1="56375" x2="38250" y2="61375"/>
                        <a14:backgroundMark x1="28500" y1="64500" x2="18625" y2="80000"/>
                        <a14:backgroundMark x1="32625" y1="60625" x2="32375" y2="68375"/>
                        <a14:backgroundMark x1="33000" y1="62375" x2="26750" y2="67000"/>
                        <a14:backgroundMark x1="64625" y1="45875" x2="64000" y2="41625"/>
                        <a14:backgroundMark x1="65375" y1="41625" x2="59750" y2="35750"/>
                        <a14:backgroundMark x1="79375" y1="16750" x2="62500" y2="37500"/>
                        <a14:backgroundMark x1="46750" y1="36000" x2="56250" y2="32500"/>
                      </a14:backgroundRemoval>
                    </a14:imgEffect>
                  </a14:imgLayer>
                </a14:imgProps>
              </a:ext>
              <a:ext uri="{28A0092B-C50C-407E-A947-70E740481C1C}">
                <a14:useLocalDpi xmlns:a14="http://schemas.microsoft.com/office/drawing/2010/main" val="0"/>
              </a:ext>
            </a:extLst>
          </a:blip>
          <a:srcRect t="25766" b="34203"/>
          <a:stretch/>
        </p:blipFill>
        <p:spPr bwMode="auto">
          <a:xfrm>
            <a:off x="5774002" y="5573385"/>
            <a:ext cx="868383" cy="347617"/>
          </a:xfrm>
          <a:prstGeom prst="rect">
            <a:avLst/>
          </a:prstGeom>
          <a:noFill/>
          <a:extLst>
            <a:ext uri="{909E8E84-426E-40DD-AFC4-6F175D3DCCD1}">
              <a14:hiddenFill xmlns:a14="http://schemas.microsoft.com/office/drawing/2010/main">
                <a:solidFill>
                  <a:srgbClr val="FFFFFF"/>
                </a:solidFill>
              </a14:hiddenFill>
            </a:ext>
          </a:extLst>
        </p:spPr>
      </p:pic>
      <p:sp>
        <p:nvSpPr>
          <p:cNvPr id="174" name="Rechteck 96">
            <a:extLst>
              <a:ext uri="{FF2B5EF4-FFF2-40B4-BE49-F238E27FC236}">
                <a16:creationId xmlns:a16="http://schemas.microsoft.com/office/drawing/2014/main" id="{8759DA9D-B89D-E145-DDB8-1375FCE4A97A}"/>
              </a:ext>
            </a:extLst>
          </p:cNvPr>
          <p:cNvSpPr/>
          <p:nvPr/>
        </p:nvSpPr>
        <p:spPr>
          <a:xfrm>
            <a:off x="2605466" y="5967479"/>
            <a:ext cx="866961" cy="276999"/>
          </a:xfrm>
          <a:prstGeom prst="rect">
            <a:avLst/>
          </a:prstGeom>
        </p:spPr>
        <p:txBody>
          <a:bodyPr wrap="square" lIns="0" rIns="0">
            <a:spAutoFit/>
          </a:bodyPr>
          <a:lstStyle/>
          <a:p>
            <a:pPr algn="ctr" defTabSz="914126">
              <a:defRPr/>
            </a:pPr>
            <a:r>
              <a:rPr lang="en-US" sz="1200">
                <a:solidFill>
                  <a:schemeClr val="bg1"/>
                </a:solidFill>
                <a:latin typeface="Arial Nova Light" panose="020B0304020202020204" pitchFamily="34" charset="0"/>
              </a:rPr>
              <a:t>Bioethanol </a:t>
            </a:r>
          </a:p>
        </p:txBody>
      </p:sp>
      <p:pic>
        <p:nvPicPr>
          <p:cNvPr id="175" name="Picture 20">
            <a:extLst>
              <a:ext uri="{FF2B5EF4-FFF2-40B4-BE49-F238E27FC236}">
                <a16:creationId xmlns:a16="http://schemas.microsoft.com/office/drawing/2014/main" id="{BCF193A2-9B53-8E7B-3E9B-B104F32CB62B}"/>
              </a:ext>
            </a:extLst>
          </p:cNvPr>
          <p:cNvPicPr>
            <a:picLocks noChangeAspect="1"/>
          </p:cNvPicPr>
          <p:nvPr/>
        </p:nvPicPr>
        <p:blipFill rotWithShape="1">
          <a:blip r:embed="rId14">
            <a:extLst>
              <a:ext uri="{BEBA8EAE-BF5A-486C-A8C5-ECC9F3942E4B}">
                <a14:imgProps xmlns:a14="http://schemas.microsoft.com/office/drawing/2010/main">
                  <a14:imgLayer r:embed="rId15">
                    <a14:imgEffect>
                      <a14:backgroundRemoval t="6500" b="89500" l="14667" r="52167">
                        <a14:foregroundMark x1="21333" y1="36500" x2="36667" y2="60000"/>
                        <a14:foregroundMark x1="39333" y1="33500" x2="21000" y2="62667"/>
                        <a14:foregroundMark x1="28833" y1="6500" x2="28833" y2="14333"/>
                        <a14:foregroundMark x1="45500" y1="7333" x2="52333" y2="19000"/>
                        <a14:foregroundMark x1="21020" y1="29569" x2="17500" y2="45000"/>
                        <a14:foregroundMark x1="22500" y1="82167" x2="40500" y2="85333"/>
                        <a14:foregroundMark x1="16614" y1="51478" x2="16000" y2="35667"/>
                        <a14:foregroundMark x1="17833" y1="82833" x2="16663" y2="52719"/>
                        <a14:foregroundMark x1="15662" y1="51403" x2="16833" y2="70000"/>
                        <a14:foregroundMark x1="36000" y1="23167" x2="48500" y2="33833"/>
                        <a14:foregroundMark x1="49000" y1="57500" x2="21667" y2="89500"/>
                        <a14:foregroundMark x1="21667" y1="89500" x2="21500" y2="88500"/>
                        <a14:backgroundMark x1="21500" y1="26500" x2="21500" y2="26167"/>
                        <a14:backgroundMark x1="22167" y1="26167" x2="21000" y2="25167"/>
                        <a14:backgroundMark x1="15667" y1="84333" x2="14167" y2="71833"/>
                        <a14:backgroundMark x1="26333" y1="87667" x2="43167" y2="89000"/>
                        <a14:backgroundMark x1="13000" y1="51667" x2="14000" y2="49000"/>
                        <a14:backgroundMark x1="22333" y1="25333" x2="19833" y2="28833"/>
                        <a14:backgroundMark x1="14500" y1="54500" x2="14000" y2="49167"/>
                        <a14:backgroundMark x1="14833" y1="51667" x2="14667" y2="50333"/>
                        <a14:backgroundMark x1="51000" y1="16500" x2="49500" y2="15000"/>
                        <a14:backgroundMark x1="27333" y1="12333" x2="26667" y2="12000"/>
                        <a14:backgroundMark x1="14333" y1="46833" x2="14333" y2="37000"/>
                        <a14:backgroundMark x1="16333" y1="50833" x2="14833" y2="49500"/>
                      </a14:backgroundRemoval>
                    </a14:imgEffect>
                  </a14:imgLayer>
                </a14:imgProps>
              </a:ext>
            </a:extLst>
          </a:blip>
          <a:srcRect l="10378" t="9172" r="44568" b="12212"/>
          <a:stretch/>
        </p:blipFill>
        <p:spPr>
          <a:xfrm>
            <a:off x="8313546" y="5447062"/>
            <a:ext cx="341429" cy="595764"/>
          </a:xfrm>
          <a:prstGeom prst="rect">
            <a:avLst/>
          </a:prstGeom>
        </p:spPr>
      </p:pic>
      <p:pic>
        <p:nvPicPr>
          <p:cNvPr id="176" name="Picture 12" descr="Bio fuel barrel icon flat style Royalty Free Vector Image">
            <a:extLst>
              <a:ext uri="{FF2B5EF4-FFF2-40B4-BE49-F238E27FC236}">
                <a16:creationId xmlns:a16="http://schemas.microsoft.com/office/drawing/2014/main" id="{29C7F2F9-CE11-BB48-F606-1BDBA2207825}"/>
              </a:ext>
            </a:extLst>
          </p:cNvPr>
          <p:cNvPicPr>
            <a:picLocks noChangeAspect="1" noChangeArrowheads="1"/>
          </p:cNvPicPr>
          <p:nvPr/>
        </p:nvPicPr>
        <p:blipFill>
          <a:blip r:embed="rId16">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811861" y="5422135"/>
            <a:ext cx="620944" cy="670620"/>
          </a:xfrm>
          <a:prstGeom prst="rect">
            <a:avLst/>
          </a:prstGeom>
          <a:noFill/>
          <a:extLst>
            <a:ext uri="{909E8E84-426E-40DD-AFC4-6F175D3DCCD1}">
              <a14:hiddenFill xmlns:a14="http://schemas.microsoft.com/office/drawing/2010/main">
                <a:solidFill>
                  <a:srgbClr val="FFFFFF"/>
                </a:solidFill>
              </a14:hiddenFill>
            </a:ext>
          </a:extLst>
        </p:spPr>
      </p:pic>
      <p:sp>
        <p:nvSpPr>
          <p:cNvPr id="177" name="Rechteck 96">
            <a:extLst>
              <a:ext uri="{FF2B5EF4-FFF2-40B4-BE49-F238E27FC236}">
                <a16:creationId xmlns:a16="http://schemas.microsoft.com/office/drawing/2014/main" id="{EA663449-8149-B712-DCF1-283CC1005148}"/>
              </a:ext>
            </a:extLst>
          </p:cNvPr>
          <p:cNvSpPr/>
          <p:nvPr/>
        </p:nvSpPr>
        <p:spPr>
          <a:xfrm>
            <a:off x="3794289" y="5962560"/>
            <a:ext cx="1577994" cy="276999"/>
          </a:xfrm>
          <a:prstGeom prst="rect">
            <a:avLst/>
          </a:prstGeom>
        </p:spPr>
        <p:txBody>
          <a:bodyPr wrap="square" lIns="0" tIns="45720" rIns="0" bIns="45720" anchor="t">
            <a:spAutoFit/>
          </a:bodyPr>
          <a:lstStyle/>
          <a:p>
            <a:pPr algn="ctr" defTabSz="914126">
              <a:defRPr/>
            </a:pPr>
            <a:r>
              <a:rPr lang="en-US" sz="1200">
                <a:solidFill>
                  <a:schemeClr val="bg1"/>
                </a:solidFill>
                <a:latin typeface="Arial Nova Light"/>
              </a:rPr>
              <a:t>Activated carbon</a:t>
            </a:r>
            <a:endParaRPr lang="en-US" sz="1200">
              <a:solidFill>
                <a:schemeClr val="bg1"/>
              </a:solidFill>
              <a:latin typeface="Arial Nova Light" panose="020B0304020202020204" pitchFamily="34" charset="0"/>
            </a:endParaRPr>
          </a:p>
        </p:txBody>
      </p:sp>
      <p:sp>
        <p:nvSpPr>
          <p:cNvPr id="178" name="Rechteck 96">
            <a:extLst>
              <a:ext uri="{FF2B5EF4-FFF2-40B4-BE49-F238E27FC236}">
                <a16:creationId xmlns:a16="http://schemas.microsoft.com/office/drawing/2014/main" id="{2B0C96AB-98A3-62E3-4246-8AE3C100EC41}"/>
              </a:ext>
            </a:extLst>
          </p:cNvPr>
          <p:cNvSpPr/>
          <p:nvPr/>
        </p:nvSpPr>
        <p:spPr>
          <a:xfrm>
            <a:off x="5416744" y="5947666"/>
            <a:ext cx="1544738" cy="276999"/>
          </a:xfrm>
          <a:prstGeom prst="rect">
            <a:avLst/>
          </a:prstGeom>
        </p:spPr>
        <p:txBody>
          <a:bodyPr wrap="square" lIns="0" tIns="45720" rIns="0" bIns="45720" anchor="t">
            <a:spAutoFit/>
          </a:bodyPr>
          <a:lstStyle/>
          <a:p>
            <a:pPr algn="ctr" defTabSz="914126">
              <a:defRPr/>
            </a:pPr>
            <a:r>
              <a:rPr lang="en-US" sz="1200">
                <a:solidFill>
                  <a:schemeClr val="bg1"/>
                </a:solidFill>
                <a:latin typeface="Arial Nova Light"/>
              </a:rPr>
              <a:t>Nano Silica</a:t>
            </a:r>
            <a:endParaRPr lang="en-US" sz="1200">
              <a:solidFill>
                <a:schemeClr val="bg1"/>
              </a:solidFill>
              <a:latin typeface="Arial Nova Light" panose="020B0304020202020204" pitchFamily="34" charset="0"/>
            </a:endParaRPr>
          </a:p>
        </p:txBody>
      </p:sp>
      <p:sp>
        <p:nvSpPr>
          <p:cNvPr id="179" name="Rechteck 96">
            <a:extLst>
              <a:ext uri="{FF2B5EF4-FFF2-40B4-BE49-F238E27FC236}">
                <a16:creationId xmlns:a16="http://schemas.microsoft.com/office/drawing/2014/main" id="{8A04BC60-50CB-2D7F-DB92-5D41E80C6B96}"/>
              </a:ext>
            </a:extLst>
          </p:cNvPr>
          <p:cNvSpPr/>
          <p:nvPr/>
        </p:nvSpPr>
        <p:spPr>
          <a:xfrm>
            <a:off x="7924054" y="5969228"/>
            <a:ext cx="1066513" cy="276999"/>
          </a:xfrm>
          <a:prstGeom prst="rect">
            <a:avLst/>
          </a:prstGeom>
        </p:spPr>
        <p:txBody>
          <a:bodyPr wrap="square" lIns="0" rIns="0">
            <a:spAutoFit/>
          </a:bodyPr>
          <a:lstStyle/>
          <a:p>
            <a:pPr algn="ctr" defTabSz="914126">
              <a:defRPr/>
            </a:pPr>
            <a:r>
              <a:rPr lang="en-US" sz="1200">
                <a:solidFill>
                  <a:schemeClr val="bg1"/>
                </a:solidFill>
                <a:latin typeface="Arial Nova Light" panose="020B0304020202020204" pitchFamily="34" charset="0"/>
              </a:rPr>
              <a:t>Bran oil </a:t>
            </a:r>
          </a:p>
        </p:txBody>
      </p:sp>
      <p:graphicFrame>
        <p:nvGraphicFramePr>
          <p:cNvPr id="183" name="Table 32">
            <a:extLst>
              <a:ext uri="{FF2B5EF4-FFF2-40B4-BE49-F238E27FC236}">
                <a16:creationId xmlns:a16="http://schemas.microsoft.com/office/drawing/2014/main" id="{A64E7B84-E6EB-B98E-A065-26421B8279A5}"/>
              </a:ext>
            </a:extLst>
          </p:cNvPr>
          <p:cNvGraphicFramePr>
            <a:graphicFrameLocks noGrp="1"/>
          </p:cNvGraphicFramePr>
          <p:nvPr>
            <p:extLst>
              <p:ext uri="{D42A27DB-BD31-4B8C-83A1-F6EECF244321}">
                <p14:modId xmlns:p14="http://schemas.microsoft.com/office/powerpoint/2010/main" val="3366942104"/>
              </p:ext>
            </p:extLst>
          </p:nvPr>
        </p:nvGraphicFramePr>
        <p:xfrm>
          <a:off x="5191397" y="1394605"/>
          <a:ext cx="4927820" cy="863514"/>
        </p:xfrm>
        <a:graphic>
          <a:graphicData uri="http://schemas.openxmlformats.org/drawingml/2006/table">
            <a:tbl>
              <a:tblPr firstRow="1" bandRow="1">
                <a:tableStyleId>{5C22544A-7EE6-4342-B048-85BDC9FD1C3A}</a:tableStyleId>
              </a:tblPr>
              <a:tblGrid>
                <a:gridCol w="4927820">
                  <a:extLst>
                    <a:ext uri="{9D8B030D-6E8A-4147-A177-3AD203B41FA5}">
                      <a16:colId xmlns:a16="http://schemas.microsoft.com/office/drawing/2014/main" val="3152862366"/>
                    </a:ext>
                  </a:extLst>
                </a:gridCol>
              </a:tblGrid>
              <a:tr h="863514">
                <a:tc>
                  <a:txBody>
                    <a:bodyPr/>
                    <a:lstStyle/>
                    <a:p>
                      <a:pPr marL="285750" indent="-285750">
                        <a:buFontTx/>
                        <a:buChar char="-"/>
                      </a:pPr>
                      <a:endParaRPr lang="en-US" sz="1400" b="0" u="none">
                        <a:solidFill>
                          <a:schemeClr val="tx2"/>
                        </a:solidFill>
                        <a:latin typeface="Arial Nova Light" panose="020B0304020202020204" pitchFamily="34" charset="0"/>
                        <a:cs typeface="Arial" panose="020B0604020202020204" pitchFamily="34" charset="0"/>
                      </a:endParaRPr>
                    </a:p>
                  </a:txBody>
                  <a:tcPr marL="91416" marR="91416" marT="45708" marB="4570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accent1">
                        <a:alpha val="38000"/>
                      </a:schemeClr>
                    </a:solidFill>
                  </a:tcPr>
                </a:tc>
                <a:extLst>
                  <a:ext uri="{0D108BD9-81ED-4DB2-BD59-A6C34878D82A}">
                    <a16:rowId xmlns:a16="http://schemas.microsoft.com/office/drawing/2014/main" val="1177028902"/>
                  </a:ext>
                </a:extLst>
              </a:tr>
            </a:tbl>
          </a:graphicData>
        </a:graphic>
      </p:graphicFrame>
      <p:sp>
        <p:nvSpPr>
          <p:cNvPr id="184" name="TextBox 55">
            <a:extLst>
              <a:ext uri="{FF2B5EF4-FFF2-40B4-BE49-F238E27FC236}">
                <a16:creationId xmlns:a16="http://schemas.microsoft.com/office/drawing/2014/main" id="{D8018FAE-79AE-88DF-8FF8-435308F1C039}"/>
              </a:ext>
            </a:extLst>
          </p:cNvPr>
          <p:cNvSpPr txBox="1"/>
          <p:nvPr/>
        </p:nvSpPr>
        <p:spPr>
          <a:xfrm>
            <a:off x="5432390" y="1398628"/>
            <a:ext cx="4686827" cy="92946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71981" tIns="71981" rIns="71981" bIns="71981" rtlCol="0" anchor="ctr"/>
          <a:lstStyle>
            <a:defPPr>
              <a:defRPr lang="en-US"/>
            </a:defPPr>
            <a:lvl1pPr marL="285664" indent="-285664" defTabSz="914126">
              <a:buFontTx/>
              <a:buChar char="-"/>
              <a:defRPr sz="1400">
                <a:solidFill>
                  <a:srgbClr val="00324B"/>
                </a:solidFill>
                <a:latin typeface="Arial Nova Light" panose="020B03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solidFill>
                  <a:srgbClr val="000000"/>
                </a:solidFill>
              </a:rPr>
              <a:t>Optimized cleaning using optical sorting</a:t>
            </a:r>
          </a:p>
          <a:p>
            <a:r>
              <a:rPr lang="en-US">
                <a:solidFill>
                  <a:srgbClr val="000000"/>
                </a:solidFill>
              </a:rPr>
              <a:t>Nutritional losses</a:t>
            </a:r>
          </a:p>
          <a:p>
            <a:r>
              <a:rPr lang="en-US">
                <a:solidFill>
                  <a:srgbClr val="000000"/>
                </a:solidFill>
              </a:rPr>
              <a:t>Quality losses</a:t>
            </a:r>
          </a:p>
        </p:txBody>
      </p:sp>
      <p:grpSp>
        <p:nvGrpSpPr>
          <p:cNvPr id="186" name="Group 50">
            <a:extLst>
              <a:ext uri="{FF2B5EF4-FFF2-40B4-BE49-F238E27FC236}">
                <a16:creationId xmlns:a16="http://schemas.microsoft.com/office/drawing/2014/main" id="{941C87FA-4E19-7D66-4008-03904CC3A704}"/>
              </a:ext>
            </a:extLst>
          </p:cNvPr>
          <p:cNvGrpSpPr/>
          <p:nvPr/>
        </p:nvGrpSpPr>
        <p:grpSpPr>
          <a:xfrm>
            <a:off x="2227041" y="4522430"/>
            <a:ext cx="832552" cy="710285"/>
            <a:chOff x="8623637" y="5494164"/>
            <a:chExt cx="830227" cy="855006"/>
          </a:xfrm>
        </p:grpSpPr>
        <p:pic>
          <p:nvPicPr>
            <p:cNvPr id="187" name="Picture 8" descr="Awe Naturals Natural Paddy Straw/Paddy Mulch/Rice Straw for Organic  Mulching 100% Pure &amp; Organic (500 g) : Amazon.in: Garden &amp; Outdoors">
              <a:hlinkClick r:id="" action="ppaction://noaction"/>
              <a:extLst>
                <a:ext uri="{FF2B5EF4-FFF2-40B4-BE49-F238E27FC236}">
                  <a16:creationId xmlns:a16="http://schemas.microsoft.com/office/drawing/2014/main" id="{DD000F4C-C5F6-9337-29B2-F29D1577ECB1}"/>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623637" y="5494164"/>
              <a:ext cx="830227" cy="549836"/>
            </a:xfrm>
            <a:prstGeom prst="rect">
              <a:avLst/>
            </a:prstGeom>
            <a:noFill/>
            <a:extLst>
              <a:ext uri="{909E8E84-426E-40DD-AFC4-6F175D3DCCD1}">
                <a14:hiddenFill xmlns:a14="http://schemas.microsoft.com/office/drawing/2010/main">
                  <a:solidFill>
                    <a:srgbClr val="FFFFFF"/>
                  </a:solidFill>
                </a14:hiddenFill>
              </a:ext>
            </a:extLst>
          </p:spPr>
        </p:pic>
        <p:sp>
          <p:nvSpPr>
            <p:cNvPr id="188" name="Rechteck 96">
              <a:extLst>
                <a:ext uri="{FF2B5EF4-FFF2-40B4-BE49-F238E27FC236}">
                  <a16:creationId xmlns:a16="http://schemas.microsoft.com/office/drawing/2014/main" id="{D10C0C6D-183C-058B-D80F-BB3320B69D62}"/>
                </a:ext>
              </a:extLst>
            </p:cNvPr>
            <p:cNvSpPr/>
            <p:nvPr/>
          </p:nvSpPr>
          <p:spPr>
            <a:xfrm>
              <a:off x="8651939" y="6034257"/>
              <a:ext cx="725152" cy="314913"/>
            </a:xfrm>
            <a:prstGeom prst="rect">
              <a:avLst/>
            </a:prstGeom>
          </p:spPr>
          <p:txBody>
            <a:bodyPr wrap="square" lIns="0" tIns="45720" rIns="0" bIns="45720" anchor="t">
              <a:spAutoFit/>
            </a:bodyPr>
            <a:lstStyle/>
            <a:p>
              <a:pPr algn="ctr" defTabSz="914126">
                <a:defRPr/>
              </a:pPr>
              <a:r>
                <a:rPr lang="en-US" sz="1100" b="1">
                  <a:solidFill>
                    <a:srgbClr val="000000"/>
                  </a:solidFill>
                  <a:highlight>
                    <a:srgbClr val="FFFF00"/>
                  </a:highlight>
                  <a:latin typeface="Arial Nova Light"/>
                </a:rPr>
                <a:t>Rice Straw</a:t>
              </a:r>
              <a:endParaRPr lang="en-US" sz="1100" b="1">
                <a:solidFill>
                  <a:srgbClr val="000000"/>
                </a:solidFill>
                <a:highlight>
                  <a:srgbClr val="FFFF00"/>
                </a:highlight>
                <a:latin typeface="Arial Nova Light" panose="020B0304020202020204" pitchFamily="34" charset="0"/>
              </a:endParaRPr>
            </a:p>
          </p:txBody>
        </p:sp>
      </p:grpSp>
      <p:sp>
        <p:nvSpPr>
          <p:cNvPr id="189" name="Rechteck 57">
            <a:extLst>
              <a:ext uri="{FF2B5EF4-FFF2-40B4-BE49-F238E27FC236}">
                <a16:creationId xmlns:a16="http://schemas.microsoft.com/office/drawing/2014/main" id="{2765E04E-B0B5-7B40-6DF6-D946552A0399}"/>
              </a:ext>
            </a:extLst>
          </p:cNvPr>
          <p:cNvSpPr/>
          <p:nvPr/>
        </p:nvSpPr>
        <p:spPr>
          <a:xfrm>
            <a:off x="1760096" y="3668456"/>
            <a:ext cx="1024493" cy="307697"/>
          </a:xfrm>
          <a:prstGeom prst="rect">
            <a:avLst/>
          </a:prstGeom>
        </p:spPr>
        <p:txBody>
          <a:bodyPr wrap="square" lIns="0" rIns="0">
            <a:spAutoFit/>
          </a:bodyPr>
          <a:lstStyle/>
          <a:p>
            <a:pPr algn="ctr" defTabSz="914126">
              <a:defRPr/>
            </a:pPr>
            <a:r>
              <a:rPr lang="en-US" altLang="zh-CN" sz="1400" b="1">
                <a:solidFill>
                  <a:schemeClr val="bg1"/>
                </a:solidFill>
                <a:latin typeface="Arial Nova Light" panose="020B0304020202020204" pitchFamily="34" charset="0"/>
              </a:rPr>
              <a:t>Paddy</a:t>
            </a:r>
          </a:p>
        </p:txBody>
      </p:sp>
      <p:sp>
        <p:nvSpPr>
          <p:cNvPr id="190" name="Rechteck 57">
            <a:extLst>
              <a:ext uri="{FF2B5EF4-FFF2-40B4-BE49-F238E27FC236}">
                <a16:creationId xmlns:a16="http://schemas.microsoft.com/office/drawing/2014/main" id="{1C577B7D-8097-FD7F-93E9-F15221CE4C7F}"/>
              </a:ext>
            </a:extLst>
          </p:cNvPr>
          <p:cNvSpPr/>
          <p:nvPr/>
        </p:nvSpPr>
        <p:spPr>
          <a:xfrm>
            <a:off x="9505943" y="3674411"/>
            <a:ext cx="1024493" cy="307697"/>
          </a:xfrm>
          <a:prstGeom prst="rect">
            <a:avLst/>
          </a:prstGeom>
        </p:spPr>
        <p:txBody>
          <a:bodyPr wrap="square" lIns="0" rIns="0">
            <a:spAutoFit/>
          </a:bodyPr>
          <a:lstStyle/>
          <a:p>
            <a:pPr algn="ctr" defTabSz="914126">
              <a:defRPr/>
            </a:pPr>
            <a:r>
              <a:rPr lang="en-US" altLang="zh-CN" sz="1400" b="1">
                <a:solidFill>
                  <a:schemeClr val="bg1"/>
                </a:solidFill>
                <a:latin typeface="Arial Nova Light" panose="020B0304020202020204" pitchFamily="34" charset="0"/>
              </a:rPr>
              <a:t>Rice</a:t>
            </a:r>
          </a:p>
        </p:txBody>
      </p:sp>
      <p:sp>
        <p:nvSpPr>
          <p:cNvPr id="1027" name="直角三角形 1026">
            <a:extLst>
              <a:ext uri="{FF2B5EF4-FFF2-40B4-BE49-F238E27FC236}">
                <a16:creationId xmlns:a16="http://schemas.microsoft.com/office/drawing/2014/main" id="{969DCC8E-BC0F-4F57-743E-21487E69DF90}"/>
              </a:ext>
            </a:extLst>
          </p:cNvPr>
          <p:cNvSpPr/>
          <p:nvPr/>
        </p:nvSpPr>
        <p:spPr>
          <a:xfrm>
            <a:off x="5164606" y="2479517"/>
            <a:ext cx="4996646" cy="289313"/>
          </a:xfrm>
          <a:prstGeom prst="r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a:solidFill>
                <a:schemeClr val="bg1"/>
              </a:solidFill>
              <a:cs typeface="Arial" panose="020B0604020202020204" pitchFamily="34" charset="0"/>
            </a:endParaRPr>
          </a:p>
        </p:txBody>
      </p:sp>
      <p:pic>
        <p:nvPicPr>
          <p:cNvPr id="1029" name="图片 1028">
            <a:extLst>
              <a:ext uri="{FF2B5EF4-FFF2-40B4-BE49-F238E27FC236}">
                <a16:creationId xmlns:a16="http://schemas.microsoft.com/office/drawing/2014/main" id="{79093F73-63E5-4907-F0EC-40251C768BBF}"/>
              </a:ext>
            </a:extLst>
          </p:cNvPr>
          <p:cNvPicPr>
            <a:picLocks noChangeAspect="1"/>
          </p:cNvPicPr>
          <p:nvPr/>
        </p:nvPicPr>
        <p:blipFill rotWithShape="1">
          <a:blip r:embed="rId19"/>
          <a:srcRect r="55308"/>
          <a:stretch/>
        </p:blipFill>
        <p:spPr>
          <a:xfrm>
            <a:off x="5149173" y="2780518"/>
            <a:ext cx="4918255" cy="307185"/>
          </a:xfrm>
          <a:prstGeom prst="rect">
            <a:avLst/>
          </a:prstGeom>
        </p:spPr>
      </p:pic>
      <p:sp>
        <p:nvSpPr>
          <p:cNvPr id="133" name="文本框 132">
            <a:extLst>
              <a:ext uri="{FF2B5EF4-FFF2-40B4-BE49-F238E27FC236}">
                <a16:creationId xmlns:a16="http://schemas.microsoft.com/office/drawing/2014/main" id="{EF705051-E3F3-57F5-666A-22F64450D8D6}"/>
              </a:ext>
            </a:extLst>
          </p:cNvPr>
          <p:cNvSpPr txBox="1"/>
          <p:nvPr/>
        </p:nvSpPr>
        <p:spPr>
          <a:xfrm>
            <a:off x="6838648" y="2851776"/>
            <a:ext cx="1102866" cy="215444"/>
          </a:xfrm>
          <a:prstGeom prst="rect">
            <a:avLst/>
          </a:prstGeom>
          <a:noFill/>
        </p:spPr>
        <p:txBody>
          <a:bodyPr wrap="none" lIns="0" tIns="0" rIns="0" bIns="0" rtlCol="0">
            <a:spAutoFit/>
          </a:bodyPr>
          <a:lstStyle/>
          <a:p>
            <a:r>
              <a:rPr lang="en-US" sz="1400" b="1">
                <a:solidFill>
                  <a:schemeClr val="bg1"/>
                </a:solidFill>
                <a:latin typeface="Arial" panose="020B0604020202020204" pitchFamily="34" charset="0"/>
                <a:cs typeface="Arial" panose="020B0604020202020204" pitchFamily="34" charset="0"/>
              </a:rPr>
              <a:t>Quality Ratio</a:t>
            </a:r>
          </a:p>
        </p:txBody>
      </p:sp>
      <p:sp>
        <p:nvSpPr>
          <p:cNvPr id="155" name="文本框 154">
            <a:extLst>
              <a:ext uri="{FF2B5EF4-FFF2-40B4-BE49-F238E27FC236}">
                <a16:creationId xmlns:a16="http://schemas.microsoft.com/office/drawing/2014/main" id="{1D45D917-8F5F-FA28-9B6C-7B759019F335}"/>
              </a:ext>
            </a:extLst>
          </p:cNvPr>
          <p:cNvSpPr txBox="1"/>
          <p:nvPr/>
        </p:nvSpPr>
        <p:spPr>
          <a:xfrm>
            <a:off x="6759299" y="2528743"/>
            <a:ext cx="1242328" cy="215444"/>
          </a:xfrm>
          <a:prstGeom prst="rect">
            <a:avLst/>
          </a:prstGeom>
          <a:noFill/>
        </p:spPr>
        <p:txBody>
          <a:bodyPr wrap="none" lIns="0" tIns="0" rIns="0" bIns="0" rtlCol="0">
            <a:spAutoFit/>
          </a:bodyPr>
          <a:lstStyle/>
          <a:p>
            <a:r>
              <a:rPr lang="en-US" altLang="zh-CN" sz="1400" b="1">
                <a:solidFill>
                  <a:schemeClr val="bg1"/>
                </a:solidFill>
                <a:latin typeface="Arial" panose="020B0604020202020204" pitchFamily="34" charset="0"/>
                <a:cs typeface="Arial" panose="020B0604020202020204" pitchFamily="34" charset="0"/>
              </a:rPr>
              <a:t>Nutrition</a:t>
            </a:r>
            <a:r>
              <a:rPr lang="en-US" sz="1400" b="1">
                <a:solidFill>
                  <a:schemeClr val="bg1"/>
                </a:solidFill>
                <a:latin typeface="Arial" panose="020B0604020202020204" pitchFamily="34" charset="0"/>
                <a:cs typeface="Arial" panose="020B0604020202020204" pitchFamily="34" charset="0"/>
              </a:rPr>
              <a:t> Ratio</a:t>
            </a:r>
          </a:p>
        </p:txBody>
      </p:sp>
      <p:sp>
        <p:nvSpPr>
          <p:cNvPr id="164" name="文本框 163">
            <a:extLst>
              <a:ext uri="{FF2B5EF4-FFF2-40B4-BE49-F238E27FC236}">
                <a16:creationId xmlns:a16="http://schemas.microsoft.com/office/drawing/2014/main" id="{747CF627-CD81-7626-862A-FE1EAEEFA642}"/>
              </a:ext>
            </a:extLst>
          </p:cNvPr>
          <p:cNvSpPr txBox="1"/>
          <p:nvPr/>
        </p:nvSpPr>
        <p:spPr>
          <a:xfrm>
            <a:off x="5154653" y="2505738"/>
            <a:ext cx="524182" cy="246221"/>
          </a:xfrm>
          <a:prstGeom prst="rect">
            <a:avLst/>
          </a:prstGeom>
          <a:noFill/>
        </p:spPr>
        <p:txBody>
          <a:bodyPr wrap="none" lIns="0" tIns="0" rIns="0" bIns="0" rtlCol="0">
            <a:spAutoFit/>
          </a:bodyPr>
          <a:lstStyle/>
          <a:p>
            <a:r>
              <a:rPr lang="en-US" sz="1600" b="1">
                <a:solidFill>
                  <a:srgbClr val="FF0000"/>
                </a:solidFill>
                <a:latin typeface="Arial" panose="020B0604020202020204" pitchFamily="34" charset="0"/>
                <a:cs typeface="Arial" panose="020B0604020202020204" pitchFamily="34" charset="0"/>
              </a:rPr>
              <a:t>100%</a:t>
            </a:r>
          </a:p>
        </p:txBody>
      </p:sp>
      <p:sp>
        <p:nvSpPr>
          <p:cNvPr id="132" name="文本框 131">
            <a:extLst>
              <a:ext uri="{FF2B5EF4-FFF2-40B4-BE49-F238E27FC236}">
                <a16:creationId xmlns:a16="http://schemas.microsoft.com/office/drawing/2014/main" id="{59EBC95E-4BDE-756F-3104-4926F9BAB6A6}"/>
              </a:ext>
            </a:extLst>
          </p:cNvPr>
          <p:cNvSpPr txBox="1"/>
          <p:nvPr/>
        </p:nvSpPr>
        <p:spPr>
          <a:xfrm>
            <a:off x="5183703" y="2806251"/>
            <a:ext cx="524182" cy="246221"/>
          </a:xfrm>
          <a:prstGeom prst="rect">
            <a:avLst/>
          </a:prstGeom>
          <a:noFill/>
        </p:spPr>
        <p:txBody>
          <a:bodyPr wrap="none" lIns="0" tIns="0" rIns="0" bIns="0" rtlCol="0">
            <a:spAutoFit/>
          </a:bodyPr>
          <a:lstStyle/>
          <a:p>
            <a:r>
              <a:rPr lang="en-US" sz="1600" b="1">
                <a:solidFill>
                  <a:srgbClr val="FF0000"/>
                </a:solidFill>
                <a:latin typeface="Arial" panose="020B0604020202020204" pitchFamily="34" charset="0"/>
                <a:cs typeface="Arial" panose="020B0604020202020204" pitchFamily="34" charset="0"/>
              </a:rPr>
              <a:t>100%</a:t>
            </a:r>
          </a:p>
        </p:txBody>
      </p:sp>
      <p:sp>
        <p:nvSpPr>
          <p:cNvPr id="130" name="文本框 129">
            <a:extLst>
              <a:ext uri="{FF2B5EF4-FFF2-40B4-BE49-F238E27FC236}">
                <a16:creationId xmlns:a16="http://schemas.microsoft.com/office/drawing/2014/main" id="{EAFB92ED-2E35-DA9C-8D9F-E00E3E49B474}"/>
              </a:ext>
            </a:extLst>
          </p:cNvPr>
          <p:cNvSpPr txBox="1"/>
          <p:nvPr/>
        </p:nvSpPr>
        <p:spPr>
          <a:xfrm>
            <a:off x="9682020" y="2859029"/>
            <a:ext cx="410369" cy="246221"/>
          </a:xfrm>
          <a:prstGeom prst="rect">
            <a:avLst/>
          </a:prstGeom>
          <a:noFill/>
        </p:spPr>
        <p:txBody>
          <a:bodyPr wrap="none" lIns="0" tIns="0" rIns="0" bIns="0" rtlCol="0">
            <a:spAutoFit/>
          </a:bodyPr>
          <a:lstStyle/>
          <a:p>
            <a:r>
              <a:rPr lang="en-US" sz="1600" b="1">
                <a:solidFill>
                  <a:srgbClr val="FF0000"/>
                </a:solidFill>
                <a:latin typeface="Arial" panose="020B0604020202020204" pitchFamily="34" charset="0"/>
                <a:cs typeface="Arial" panose="020B0604020202020204" pitchFamily="34" charset="0"/>
              </a:rPr>
              <a:t>67%</a:t>
            </a:r>
          </a:p>
        </p:txBody>
      </p:sp>
      <p:sp>
        <p:nvSpPr>
          <p:cNvPr id="1030" name="矩形 1029">
            <a:extLst>
              <a:ext uri="{FF2B5EF4-FFF2-40B4-BE49-F238E27FC236}">
                <a16:creationId xmlns:a16="http://schemas.microsoft.com/office/drawing/2014/main" id="{43CB28AE-93B1-3041-3E3A-1D59BB038321}"/>
              </a:ext>
            </a:extLst>
          </p:cNvPr>
          <p:cNvSpPr/>
          <p:nvPr/>
        </p:nvSpPr>
        <p:spPr>
          <a:xfrm>
            <a:off x="2007329" y="4378988"/>
            <a:ext cx="7960805" cy="91566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a:solidFill>
                <a:schemeClr val="bg1"/>
              </a:solidFill>
              <a:cs typeface="Arial" panose="020B0604020202020204" pitchFamily="34" charset="0"/>
            </a:endParaRPr>
          </a:p>
        </p:txBody>
      </p:sp>
      <p:sp>
        <p:nvSpPr>
          <p:cNvPr id="1031" name="矩形 1030">
            <a:extLst>
              <a:ext uri="{FF2B5EF4-FFF2-40B4-BE49-F238E27FC236}">
                <a16:creationId xmlns:a16="http://schemas.microsoft.com/office/drawing/2014/main" id="{9E0F895D-F8E2-63B9-1117-3EA0607CFD51}"/>
              </a:ext>
            </a:extLst>
          </p:cNvPr>
          <p:cNvSpPr/>
          <p:nvPr/>
        </p:nvSpPr>
        <p:spPr>
          <a:xfrm>
            <a:off x="2002785" y="5384974"/>
            <a:ext cx="7960805" cy="915664"/>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a:solidFill>
                <a:schemeClr val="bg1"/>
              </a:solidFill>
              <a:cs typeface="Arial" panose="020B0604020202020204" pitchFamily="34" charset="0"/>
            </a:endParaRPr>
          </a:p>
        </p:txBody>
      </p:sp>
      <p:sp>
        <p:nvSpPr>
          <p:cNvPr id="167" name="Rechteck 60">
            <a:hlinkClick r:id="" action="ppaction://noaction"/>
            <a:extLst>
              <a:ext uri="{FF2B5EF4-FFF2-40B4-BE49-F238E27FC236}">
                <a16:creationId xmlns:a16="http://schemas.microsoft.com/office/drawing/2014/main" id="{5C105D7C-0F5B-D104-FC9F-CDE1DDEB57B3}"/>
              </a:ext>
            </a:extLst>
          </p:cNvPr>
          <p:cNvSpPr/>
          <p:nvPr/>
        </p:nvSpPr>
        <p:spPr>
          <a:xfrm>
            <a:off x="5225088" y="5182618"/>
            <a:ext cx="1956151" cy="307777"/>
          </a:xfrm>
          <a:prstGeom prst="rect">
            <a:avLst/>
          </a:prstGeom>
        </p:spPr>
        <p:txBody>
          <a:bodyPr wrap="square" lIns="0" rIns="0">
            <a:spAutoFit/>
          </a:bodyPr>
          <a:lstStyle/>
          <a:p>
            <a:pPr algn="ctr" defTabSz="914126">
              <a:defRPr/>
            </a:pPr>
            <a:r>
              <a:rPr lang="en-US" sz="1400" b="1">
                <a:solidFill>
                  <a:schemeClr val="tx2"/>
                </a:solidFill>
                <a:highlight>
                  <a:srgbClr val="FFFFFF"/>
                </a:highlight>
                <a:latin typeface="Arial Nova Light" panose="020B0304020202020204" pitchFamily="34" charset="0"/>
              </a:rPr>
              <a:t>Side-streams valorization</a:t>
            </a:r>
          </a:p>
        </p:txBody>
      </p:sp>
      <p:pic>
        <p:nvPicPr>
          <p:cNvPr id="1032" name="Picture 2" descr="Rice Flour - Akhalwaya's Spices">
            <a:extLst>
              <a:ext uri="{FF2B5EF4-FFF2-40B4-BE49-F238E27FC236}">
                <a16:creationId xmlns:a16="http://schemas.microsoft.com/office/drawing/2014/main" id="{BF2BCE91-450D-3925-3F51-CA13991E6758}"/>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044466" y="5537992"/>
            <a:ext cx="783231" cy="431236"/>
          </a:xfrm>
          <a:prstGeom prst="rect">
            <a:avLst/>
          </a:prstGeom>
          <a:noFill/>
          <a:extLst>
            <a:ext uri="{909E8E84-426E-40DD-AFC4-6F175D3DCCD1}">
              <a14:hiddenFill xmlns:a14="http://schemas.microsoft.com/office/drawing/2010/main">
                <a:solidFill>
                  <a:srgbClr val="FFFFFF"/>
                </a:solidFill>
              </a14:hiddenFill>
            </a:ext>
          </a:extLst>
        </p:spPr>
      </p:pic>
      <p:sp>
        <p:nvSpPr>
          <p:cNvPr id="1033" name="Rechteck 96">
            <a:extLst>
              <a:ext uri="{FF2B5EF4-FFF2-40B4-BE49-F238E27FC236}">
                <a16:creationId xmlns:a16="http://schemas.microsoft.com/office/drawing/2014/main" id="{F3EACEB7-B0A2-6E04-0EFE-0062D45447C4}"/>
              </a:ext>
            </a:extLst>
          </p:cNvPr>
          <p:cNvSpPr/>
          <p:nvPr/>
        </p:nvSpPr>
        <p:spPr>
          <a:xfrm>
            <a:off x="10263989" y="5973163"/>
            <a:ext cx="1495837" cy="369332"/>
          </a:xfrm>
          <a:prstGeom prst="rect">
            <a:avLst/>
          </a:prstGeom>
        </p:spPr>
        <p:txBody>
          <a:bodyPr wrap="square" lIns="0" rIns="0">
            <a:spAutoFit/>
          </a:bodyPr>
          <a:lstStyle/>
          <a:p>
            <a:pPr algn="ctr" defTabSz="914126">
              <a:defRPr/>
            </a:pPr>
            <a:r>
              <a:rPr lang="en-US" altLang="zh-CN" b="1">
                <a:solidFill>
                  <a:srgbClr val="FF0000"/>
                </a:solidFill>
                <a:latin typeface="Arial Nova Light" panose="020B0304020202020204" pitchFamily="34" charset="0"/>
              </a:rPr>
              <a:t>Rice Flour</a:t>
            </a:r>
            <a:endParaRPr lang="en-US" b="1">
              <a:solidFill>
                <a:srgbClr val="FF0000"/>
              </a:solidFill>
              <a:latin typeface="Arial Nova Light" panose="020B0304020202020204" pitchFamily="34" charset="0"/>
            </a:endParaRPr>
          </a:p>
        </p:txBody>
      </p:sp>
      <p:cxnSp>
        <p:nvCxnSpPr>
          <p:cNvPr id="1035" name="直接连接符 1034">
            <a:extLst>
              <a:ext uri="{FF2B5EF4-FFF2-40B4-BE49-F238E27FC236}">
                <a16:creationId xmlns:a16="http://schemas.microsoft.com/office/drawing/2014/main" id="{D7AE3206-3A52-0A5B-6676-9A745B7E3E60}"/>
              </a:ext>
            </a:extLst>
          </p:cNvPr>
          <p:cNvCxnSpPr/>
          <p:nvPr/>
        </p:nvCxnSpPr>
        <p:spPr>
          <a:xfrm>
            <a:off x="11553681" y="5422135"/>
            <a:ext cx="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37" name="直接连接符 1036">
            <a:extLst>
              <a:ext uri="{FF2B5EF4-FFF2-40B4-BE49-F238E27FC236}">
                <a16:creationId xmlns:a16="http://schemas.microsoft.com/office/drawing/2014/main" id="{61B06BCA-B6B9-9CC2-E6E8-86E381E7E4D8}"/>
              </a:ext>
            </a:extLst>
          </p:cNvPr>
          <p:cNvCxnSpPr>
            <a:cxnSpLocks/>
          </p:cNvCxnSpPr>
          <p:nvPr/>
        </p:nvCxnSpPr>
        <p:spPr>
          <a:xfrm>
            <a:off x="9843374" y="5744944"/>
            <a:ext cx="1139170" cy="8666"/>
          </a:xfrm>
          <a:prstGeom prst="line">
            <a:avLst/>
          </a:prstGeom>
          <a:ln/>
        </p:spPr>
        <p:style>
          <a:lnRef idx="2">
            <a:schemeClr val="accent6"/>
          </a:lnRef>
          <a:fillRef idx="0">
            <a:schemeClr val="accent6"/>
          </a:fillRef>
          <a:effectRef idx="1">
            <a:schemeClr val="accent6"/>
          </a:effectRef>
          <a:fontRef idx="minor">
            <a:schemeClr val="tx1"/>
          </a:fontRef>
        </p:style>
      </p:cxnSp>
      <p:cxnSp>
        <p:nvCxnSpPr>
          <p:cNvPr id="1039" name="直接连接符 1038">
            <a:extLst>
              <a:ext uri="{FF2B5EF4-FFF2-40B4-BE49-F238E27FC236}">
                <a16:creationId xmlns:a16="http://schemas.microsoft.com/office/drawing/2014/main" id="{C40FE7A1-2390-D02A-96C3-5C3FC28C1CD2}"/>
              </a:ext>
            </a:extLst>
          </p:cNvPr>
          <p:cNvCxnSpPr>
            <a:cxnSpLocks/>
          </p:cNvCxnSpPr>
          <p:nvPr/>
        </p:nvCxnSpPr>
        <p:spPr>
          <a:xfrm>
            <a:off x="10982544" y="4025954"/>
            <a:ext cx="0" cy="1750332"/>
          </a:xfrm>
          <a:prstGeom prst="line">
            <a:avLst/>
          </a:prstGeom>
          <a:ln/>
        </p:spPr>
        <p:style>
          <a:lnRef idx="2">
            <a:schemeClr val="accent6"/>
          </a:lnRef>
          <a:fillRef idx="0">
            <a:schemeClr val="accent6"/>
          </a:fillRef>
          <a:effectRef idx="1">
            <a:schemeClr val="accent6"/>
          </a:effectRef>
          <a:fontRef idx="minor">
            <a:schemeClr val="tx1"/>
          </a:fontRef>
        </p:style>
      </p:cxnSp>
      <p:sp>
        <p:nvSpPr>
          <p:cNvPr id="181" name="Star: 4 Points 1041">
            <a:extLst>
              <a:ext uri="{FF2B5EF4-FFF2-40B4-BE49-F238E27FC236}">
                <a16:creationId xmlns:a16="http://schemas.microsoft.com/office/drawing/2014/main" id="{BD603C0F-5D13-8F65-15DB-84A4B6BEEA32}"/>
              </a:ext>
            </a:extLst>
          </p:cNvPr>
          <p:cNvSpPr/>
          <p:nvPr/>
        </p:nvSpPr>
        <p:spPr>
          <a:xfrm>
            <a:off x="10753575" y="5478552"/>
            <a:ext cx="441964" cy="537351"/>
          </a:xfrm>
          <a:prstGeom prst="star4">
            <a:avLst/>
          </a:prstGeom>
          <a:solidFill>
            <a:srgbClr val="E6003C"/>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a:ln>
                <a:solidFill>
                  <a:sysClr val="windowText" lastClr="000000"/>
                </a:solidFill>
              </a:ln>
              <a:solidFill>
                <a:schemeClr val="bg1"/>
              </a:solidFill>
              <a:cs typeface="Arial" panose="020B0604020202020204" pitchFamily="34" charset="0"/>
            </a:endParaRPr>
          </a:p>
        </p:txBody>
      </p:sp>
      <p:pic>
        <p:nvPicPr>
          <p:cNvPr id="1026" name="Picture 2" descr="rice paddy | Rice Milling Machine Manufacturer">
            <a:extLst>
              <a:ext uri="{FF2B5EF4-FFF2-40B4-BE49-F238E27FC236}">
                <a16:creationId xmlns:a16="http://schemas.microsoft.com/office/drawing/2014/main" id="{65EC9757-C716-A960-098F-0D4A64516A85}"/>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77627" y="3067219"/>
            <a:ext cx="1495837" cy="1003335"/>
          </a:xfrm>
          <a:prstGeom prst="rect">
            <a:avLst/>
          </a:prstGeom>
          <a:noFill/>
          <a:extLst>
            <a:ext uri="{909E8E84-426E-40DD-AFC4-6F175D3DCCD1}">
              <a14:hiddenFill xmlns:a14="http://schemas.microsoft.com/office/drawing/2010/main">
                <a:solidFill>
                  <a:srgbClr val="FFFFFF"/>
                </a:solidFill>
              </a14:hiddenFill>
            </a:ext>
          </a:extLst>
        </p:spPr>
      </p:pic>
      <p:sp>
        <p:nvSpPr>
          <p:cNvPr id="4" name="泪滴形 3">
            <a:extLst>
              <a:ext uri="{FF2B5EF4-FFF2-40B4-BE49-F238E27FC236}">
                <a16:creationId xmlns:a16="http://schemas.microsoft.com/office/drawing/2014/main" id="{876B536C-B18C-82FC-AB53-48215818C21A}"/>
              </a:ext>
            </a:extLst>
          </p:cNvPr>
          <p:cNvSpPr/>
          <p:nvPr/>
        </p:nvSpPr>
        <p:spPr>
          <a:xfrm>
            <a:off x="1092463" y="1232651"/>
            <a:ext cx="1177740" cy="863534"/>
          </a:xfrm>
          <a:prstGeom prst="teardrop">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600" dirty="0">
                <a:solidFill>
                  <a:schemeClr val="bg1"/>
                </a:solidFill>
                <a:cs typeface="Arial" panose="020B0604020202020204" pitchFamily="34" charset="0"/>
              </a:rPr>
              <a:t>Avoid</a:t>
            </a:r>
          </a:p>
        </p:txBody>
      </p:sp>
      <p:sp>
        <p:nvSpPr>
          <p:cNvPr id="6" name="泪滴形 5">
            <a:extLst>
              <a:ext uri="{FF2B5EF4-FFF2-40B4-BE49-F238E27FC236}">
                <a16:creationId xmlns:a16="http://schemas.microsoft.com/office/drawing/2014/main" id="{ED86BBA7-58B1-DB50-11C1-509A39EF2021}"/>
              </a:ext>
            </a:extLst>
          </p:cNvPr>
          <p:cNvSpPr/>
          <p:nvPr/>
        </p:nvSpPr>
        <p:spPr>
          <a:xfrm>
            <a:off x="4262413" y="1194820"/>
            <a:ext cx="1177740" cy="885729"/>
          </a:xfrm>
          <a:prstGeom prst="teardrop">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600" dirty="0">
                <a:solidFill>
                  <a:schemeClr val="bg1"/>
                </a:solidFill>
                <a:cs typeface="Arial" panose="020B0604020202020204" pitchFamily="34" charset="0"/>
              </a:rPr>
              <a:t>Reduce</a:t>
            </a:r>
          </a:p>
        </p:txBody>
      </p:sp>
      <p:sp>
        <p:nvSpPr>
          <p:cNvPr id="8" name="泪滴形 7">
            <a:extLst>
              <a:ext uri="{FF2B5EF4-FFF2-40B4-BE49-F238E27FC236}">
                <a16:creationId xmlns:a16="http://schemas.microsoft.com/office/drawing/2014/main" id="{C5454CED-9B49-711B-7B6E-47DD668EFC6C}"/>
              </a:ext>
            </a:extLst>
          </p:cNvPr>
          <p:cNvSpPr/>
          <p:nvPr/>
        </p:nvSpPr>
        <p:spPr>
          <a:xfrm>
            <a:off x="9796817" y="4815484"/>
            <a:ext cx="1177740" cy="885729"/>
          </a:xfrm>
          <a:prstGeom prst="teardrop">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600" dirty="0">
                <a:solidFill>
                  <a:schemeClr val="bg1"/>
                </a:solidFill>
                <a:cs typeface="Arial" panose="020B0604020202020204" pitchFamily="34" charset="0"/>
              </a:rPr>
              <a:t>Reuse</a:t>
            </a:r>
          </a:p>
        </p:txBody>
      </p:sp>
    </p:spTree>
    <p:extLst>
      <p:ext uri="{BB962C8B-B14F-4D97-AF65-F5344CB8AC3E}">
        <p14:creationId xmlns:p14="http://schemas.microsoft.com/office/powerpoint/2010/main" val="39184905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图片占位符 49">
            <a:extLst>
              <a:ext uri="{FF2B5EF4-FFF2-40B4-BE49-F238E27FC236}">
                <a16:creationId xmlns:a16="http://schemas.microsoft.com/office/drawing/2014/main" id="{7AED9404-CE76-550E-3A32-BF3EA89725DA}"/>
              </a:ext>
            </a:extLst>
          </p:cNvPr>
          <p:cNvPicPr>
            <a:picLocks noGrp="1" noChangeAspect="1"/>
          </p:cNvPicPr>
          <p:nvPr>
            <p:ph type="pic" sz="quarter" idx="10"/>
          </p:nvPr>
        </p:nvPicPr>
        <p:blipFill>
          <a:blip r:embed="rId3"/>
          <a:srcRect l="18290" r="18290"/>
          <a:stretch>
            <a:fillRect/>
          </a:stretch>
        </p:blipFill>
        <p:spPr>
          <a:prstGeom prst="rect">
            <a:avLst/>
          </a:prstGeom>
        </p:spPr>
      </p:pic>
      <p:pic>
        <p:nvPicPr>
          <p:cNvPr id="43012" name="Picture 4" descr="Food Safety Level 2 Course - 1 Day Course | NVQ Training UK">
            <a:extLst>
              <a:ext uri="{FF2B5EF4-FFF2-40B4-BE49-F238E27FC236}">
                <a16:creationId xmlns:a16="http://schemas.microsoft.com/office/drawing/2014/main" id="{51EFD5AC-F20B-5564-BA19-6EC1AC9D312B}"/>
              </a:ext>
            </a:extLst>
          </p:cNvPr>
          <p:cNvPicPr>
            <a:picLocks noGrp="1" noChangeAspect="1" noChangeArrowheads="1"/>
          </p:cNvPicPr>
          <p:nvPr>
            <p:ph type="pic" sz="quarter" idx="21"/>
          </p:nvPr>
        </p:nvPicPr>
        <p:blipFill>
          <a:blip r:embed="rId4">
            <a:extLst>
              <a:ext uri="{28A0092B-C50C-407E-A947-70E740481C1C}">
                <a14:useLocalDpi xmlns:a14="http://schemas.microsoft.com/office/drawing/2010/main" val="0"/>
              </a:ext>
            </a:extLst>
          </a:blip>
          <a:srcRect l="12329" r="12329"/>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43010" name="Picture 2">
            <a:extLst>
              <a:ext uri="{FF2B5EF4-FFF2-40B4-BE49-F238E27FC236}">
                <a16:creationId xmlns:a16="http://schemas.microsoft.com/office/drawing/2014/main" id="{7D776316-07E1-1AD2-18B5-D3B3E2ED360D}"/>
              </a:ext>
            </a:extLst>
          </p:cNvPr>
          <p:cNvPicPr>
            <a:picLocks noGrp="1" noChangeAspect="1" noChangeArrowheads="1"/>
          </p:cNvPicPr>
          <p:nvPr>
            <p:ph type="pic" sz="quarter" idx="18"/>
          </p:nvPr>
        </p:nvPicPr>
        <p:blipFill>
          <a:blip r:embed="rId5">
            <a:extLst>
              <a:ext uri="{28A0092B-C50C-407E-A947-70E740481C1C}">
                <a14:useLocalDpi xmlns:a14="http://schemas.microsoft.com/office/drawing/2010/main" val="0"/>
              </a:ext>
            </a:extLst>
          </a:blip>
          <a:srcRect l="21620" r="21620"/>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36" name="图片占位符 35">
            <a:extLst>
              <a:ext uri="{FF2B5EF4-FFF2-40B4-BE49-F238E27FC236}">
                <a16:creationId xmlns:a16="http://schemas.microsoft.com/office/drawing/2014/main" id="{23F1F911-F8E0-7FA6-4ACE-6E776FE39FCE}"/>
              </a:ext>
            </a:extLst>
          </p:cNvPr>
          <p:cNvPicPr>
            <a:picLocks noGrp="1" noChangeAspect="1"/>
          </p:cNvPicPr>
          <p:nvPr>
            <p:ph type="pic" sz="quarter" idx="13"/>
          </p:nvPr>
        </p:nvPicPr>
        <p:blipFill>
          <a:blip r:embed="rId6"/>
          <a:srcRect l="12329" r="12329"/>
          <a:stretch>
            <a:fillRect/>
          </a:stretch>
        </p:blipFill>
        <p:spPr>
          <a:xfrm>
            <a:off x="9134475" y="0"/>
            <a:ext cx="3060700" cy="2708275"/>
          </a:xfrm>
          <a:prstGeom prst="rect">
            <a:avLst/>
          </a:prstGeom>
        </p:spPr>
      </p:pic>
      <p:pic>
        <p:nvPicPr>
          <p:cNvPr id="42" name="图片占位符 41">
            <a:extLst>
              <a:ext uri="{FF2B5EF4-FFF2-40B4-BE49-F238E27FC236}">
                <a16:creationId xmlns:a16="http://schemas.microsoft.com/office/drawing/2014/main" id="{098DF310-8352-8656-E23F-324982C25E14}"/>
              </a:ext>
            </a:extLst>
          </p:cNvPr>
          <p:cNvPicPr>
            <a:picLocks noGrp="1" noChangeAspect="1"/>
          </p:cNvPicPr>
          <p:nvPr>
            <p:ph type="pic" sz="quarter" idx="20"/>
          </p:nvPr>
        </p:nvPicPr>
        <p:blipFill>
          <a:blip r:embed="rId7"/>
          <a:srcRect l="5854" r="5854"/>
          <a:stretch>
            <a:fillRect/>
          </a:stretch>
        </p:blipFill>
        <p:spPr>
          <a:xfrm>
            <a:off x="3073436" y="6626"/>
            <a:ext cx="3060000" cy="2708274"/>
          </a:xfrm>
          <a:prstGeom prst="rect">
            <a:avLst/>
          </a:prstGeom>
        </p:spPr>
      </p:pic>
      <p:pic>
        <p:nvPicPr>
          <p:cNvPr id="34" name="图片占位符 33">
            <a:extLst>
              <a:ext uri="{FF2B5EF4-FFF2-40B4-BE49-F238E27FC236}">
                <a16:creationId xmlns:a16="http://schemas.microsoft.com/office/drawing/2014/main" id="{B9A18950-1888-BF2C-E419-80E4B0F26704}"/>
              </a:ext>
            </a:extLst>
          </p:cNvPr>
          <p:cNvPicPr>
            <a:picLocks noGrp="1" noChangeAspect="1"/>
          </p:cNvPicPr>
          <p:nvPr>
            <p:ph type="pic" sz="quarter" idx="12"/>
          </p:nvPr>
        </p:nvPicPr>
        <p:blipFill>
          <a:blip r:embed="rId8"/>
          <a:srcRect l="13521" r="13521"/>
          <a:stretch>
            <a:fillRect/>
          </a:stretch>
        </p:blipFill>
        <p:spPr>
          <a:prstGeom prst="rect">
            <a:avLst/>
          </a:prstGeom>
        </p:spPr>
      </p:pic>
      <p:sp>
        <p:nvSpPr>
          <p:cNvPr id="2" name="页脚占位符 1">
            <a:extLst>
              <a:ext uri="{FF2B5EF4-FFF2-40B4-BE49-F238E27FC236}">
                <a16:creationId xmlns:a16="http://schemas.microsoft.com/office/drawing/2014/main" id="{2F081582-8E0D-8407-A15E-66B8CD290143}"/>
              </a:ext>
            </a:extLst>
          </p:cNvPr>
          <p:cNvSpPr>
            <a:spLocks noGrp="1"/>
          </p:cNvSpPr>
          <p:nvPr>
            <p:ph type="ftr" sz="quarter" idx="26"/>
          </p:nvPr>
        </p:nvSpPr>
        <p:spPr/>
        <p:txBody>
          <a:bodyPr/>
          <a:lstStyle/>
          <a:p>
            <a:r>
              <a:rPr lang="en-US"/>
              <a:t>Buhler Rice FLour Dry Milling Solution |  Buhler GF-Food</a:t>
            </a:r>
          </a:p>
        </p:txBody>
      </p:sp>
      <p:sp>
        <p:nvSpPr>
          <p:cNvPr id="3" name="灯片编号占位符 2">
            <a:extLst>
              <a:ext uri="{FF2B5EF4-FFF2-40B4-BE49-F238E27FC236}">
                <a16:creationId xmlns:a16="http://schemas.microsoft.com/office/drawing/2014/main" id="{3FB60434-A9CB-F1D7-5F41-5C699D55CAE2}"/>
              </a:ext>
            </a:extLst>
          </p:cNvPr>
          <p:cNvSpPr>
            <a:spLocks noGrp="1"/>
          </p:cNvSpPr>
          <p:nvPr>
            <p:ph type="sldNum" sz="quarter" idx="27"/>
          </p:nvPr>
        </p:nvSpPr>
        <p:spPr/>
        <p:txBody>
          <a:bodyPr/>
          <a:lstStyle/>
          <a:p>
            <a:fld id="{0D1F56E0-B6F6-48D7-9539-F293D99B01ED}" type="slidenum">
              <a:rPr lang="en-US" smtClean="0"/>
              <a:pPr/>
              <a:t>5</a:t>
            </a:fld>
            <a:endParaRPr lang="en-US"/>
          </a:p>
        </p:txBody>
      </p:sp>
      <p:pic>
        <p:nvPicPr>
          <p:cNvPr id="22" name="图片占位符 21">
            <a:extLst>
              <a:ext uri="{FF2B5EF4-FFF2-40B4-BE49-F238E27FC236}">
                <a16:creationId xmlns:a16="http://schemas.microsoft.com/office/drawing/2014/main" id="{D34742EF-805A-0C7C-90F0-4E7A81D9445B}"/>
              </a:ext>
            </a:extLst>
          </p:cNvPr>
          <p:cNvPicPr>
            <a:picLocks noGrp="1" noChangeAspect="1"/>
          </p:cNvPicPr>
          <p:nvPr>
            <p:ph type="pic" sz="quarter" idx="11"/>
          </p:nvPr>
        </p:nvPicPr>
        <p:blipFill>
          <a:blip r:embed="rId9"/>
          <a:srcRect l="11520" r="11520"/>
          <a:stretch>
            <a:fillRect/>
          </a:stretch>
        </p:blipFill>
        <p:spPr>
          <a:xfrm>
            <a:off x="6074475" y="4160101"/>
            <a:ext cx="3060000" cy="2708274"/>
          </a:xfrm>
          <a:prstGeom prst="rect">
            <a:avLst/>
          </a:prstGeom>
        </p:spPr>
      </p:pic>
      <p:pic>
        <p:nvPicPr>
          <p:cNvPr id="41" name="图片占位符 40">
            <a:extLst>
              <a:ext uri="{FF2B5EF4-FFF2-40B4-BE49-F238E27FC236}">
                <a16:creationId xmlns:a16="http://schemas.microsoft.com/office/drawing/2014/main" id="{5C61CBB2-6F3C-9FDE-9BF5-BF9FF9DB9FA6}"/>
              </a:ext>
            </a:extLst>
          </p:cNvPr>
          <p:cNvPicPr>
            <a:picLocks noGrp="1" noChangeAspect="1"/>
          </p:cNvPicPr>
          <p:nvPr>
            <p:ph type="pic" sz="quarter" idx="19"/>
          </p:nvPr>
        </p:nvPicPr>
        <p:blipFill>
          <a:blip r:embed="rId10"/>
          <a:srcRect l="12282" r="12282"/>
          <a:stretch>
            <a:fillRect/>
          </a:stretch>
        </p:blipFill>
        <p:spPr>
          <a:prstGeom prst="rect">
            <a:avLst/>
          </a:prstGeom>
        </p:spPr>
      </p:pic>
      <p:sp>
        <p:nvSpPr>
          <p:cNvPr id="43" name="Rectangle 24">
            <a:extLst>
              <a:ext uri="{FF2B5EF4-FFF2-40B4-BE49-F238E27FC236}">
                <a16:creationId xmlns:a16="http://schemas.microsoft.com/office/drawing/2014/main" id="{BA53FEFE-0A9C-7123-4FCD-7BB961BE8DE4}"/>
              </a:ext>
            </a:extLst>
          </p:cNvPr>
          <p:cNvSpPr/>
          <p:nvPr/>
        </p:nvSpPr>
        <p:spPr>
          <a:xfrm>
            <a:off x="15187" y="-243243"/>
            <a:ext cx="12179988" cy="2986510"/>
          </a:xfrm>
          <a:prstGeom prst="rect">
            <a:avLst/>
          </a:prstGeom>
          <a:gradFill>
            <a:gsLst>
              <a:gs pos="55000">
                <a:srgbClr val="00384F">
                  <a:alpha val="0"/>
                </a:srgbClr>
              </a:gs>
              <a:gs pos="0">
                <a:srgbClr val="003950">
                  <a:alpha val="89000"/>
                </a:srgb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1981" tIns="71981" rIns="71981" bIns="71981"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Nova Light"/>
              <a:ea typeface="+mn-ea"/>
              <a:cs typeface="Arial" panose="020B0604020202020204" pitchFamily="34" charset="0"/>
            </a:endParaRPr>
          </a:p>
        </p:txBody>
      </p:sp>
      <p:sp>
        <p:nvSpPr>
          <p:cNvPr id="20" name="标题 19">
            <a:extLst>
              <a:ext uri="{FF2B5EF4-FFF2-40B4-BE49-F238E27FC236}">
                <a16:creationId xmlns:a16="http://schemas.microsoft.com/office/drawing/2014/main" id="{96E3CF59-F565-1B9B-7438-C73705CE507B}"/>
              </a:ext>
            </a:extLst>
          </p:cNvPr>
          <p:cNvSpPr>
            <a:spLocks noGrp="1"/>
          </p:cNvSpPr>
          <p:nvPr>
            <p:ph type="title"/>
          </p:nvPr>
        </p:nvSpPr>
        <p:spPr/>
        <p:txBody>
          <a:bodyPr/>
          <a:lstStyle/>
          <a:p>
            <a:r>
              <a:rPr lang="en-US" altLang="zh-CN" sz="2800" dirty="0"/>
              <a:t>Rice Flour Dry Milling Solution </a:t>
            </a:r>
            <a:br>
              <a:rPr lang="en-US" altLang="zh-CN" sz="2800" dirty="0"/>
            </a:br>
            <a:r>
              <a:rPr lang="en-US" altLang="zh-CN" sz="2400" dirty="0"/>
              <a:t>Balancing the</a:t>
            </a:r>
            <a:r>
              <a:rPr lang="zh-CN" altLang="en-US" sz="2400" dirty="0"/>
              <a:t> </a:t>
            </a:r>
            <a:r>
              <a:rPr lang="en-US" altLang="zh-CN" sz="2400" dirty="0"/>
              <a:t>needs</a:t>
            </a:r>
            <a:r>
              <a:rPr lang="zh-CN" altLang="en-US" sz="2400" dirty="0"/>
              <a:t> </a:t>
            </a:r>
            <a:r>
              <a:rPr lang="en-US" altLang="zh-CN" sz="2400" dirty="0"/>
              <a:t>of</a:t>
            </a:r>
            <a:r>
              <a:rPr lang="zh-CN" altLang="en-US" sz="2400" dirty="0"/>
              <a:t> </a:t>
            </a:r>
            <a:r>
              <a:rPr lang="en-US" altLang="zh-CN" sz="2400" dirty="0"/>
              <a:t>Nutrition, Natural and Economy</a:t>
            </a:r>
            <a:endParaRPr lang="en-US" altLang="zh-CN" sz="2800" dirty="0"/>
          </a:p>
        </p:txBody>
      </p:sp>
      <p:sp>
        <p:nvSpPr>
          <p:cNvPr id="10" name="文本占位符 9">
            <a:extLst>
              <a:ext uri="{FF2B5EF4-FFF2-40B4-BE49-F238E27FC236}">
                <a16:creationId xmlns:a16="http://schemas.microsoft.com/office/drawing/2014/main" id="{650C234F-28C2-3951-75F9-2954A0034ED2}"/>
              </a:ext>
            </a:extLst>
          </p:cNvPr>
          <p:cNvSpPr>
            <a:spLocks noGrp="1"/>
          </p:cNvSpPr>
          <p:nvPr>
            <p:ph type="body" sz="quarter" idx="16"/>
          </p:nvPr>
        </p:nvSpPr>
        <p:spPr>
          <a:xfrm>
            <a:off x="6169915" y="2443688"/>
            <a:ext cx="2880000" cy="216000"/>
          </a:xfrm>
        </p:spPr>
        <p:txBody>
          <a:bodyPr/>
          <a:lstStyle/>
          <a:p>
            <a:pPr algn="ctr"/>
            <a:r>
              <a:rPr lang="en-US" altLang="zh-CN" b="1" dirty="0"/>
              <a:t>Reliable &amp; Stable Process</a:t>
            </a:r>
            <a:endParaRPr lang="en-US" b="1" dirty="0"/>
          </a:p>
        </p:txBody>
      </p:sp>
      <p:sp>
        <p:nvSpPr>
          <p:cNvPr id="11" name="文本占位符 10">
            <a:extLst>
              <a:ext uri="{FF2B5EF4-FFF2-40B4-BE49-F238E27FC236}">
                <a16:creationId xmlns:a16="http://schemas.microsoft.com/office/drawing/2014/main" id="{FA17A128-A8D0-D823-4DE4-CCD3D117C280}"/>
              </a:ext>
            </a:extLst>
          </p:cNvPr>
          <p:cNvSpPr>
            <a:spLocks noGrp="1"/>
          </p:cNvSpPr>
          <p:nvPr>
            <p:ph type="body" sz="quarter" idx="17"/>
          </p:nvPr>
        </p:nvSpPr>
        <p:spPr>
          <a:xfrm>
            <a:off x="9193931" y="2443688"/>
            <a:ext cx="2628182" cy="216000"/>
          </a:xfrm>
        </p:spPr>
        <p:txBody>
          <a:bodyPr/>
          <a:lstStyle/>
          <a:p>
            <a:pPr algn="ctr"/>
            <a:r>
              <a:rPr lang="en-US" altLang="zh-CN" sz="1200" b="1" dirty="0"/>
              <a:t>Longer Shelf Life</a:t>
            </a:r>
          </a:p>
        </p:txBody>
      </p:sp>
      <p:sp>
        <p:nvSpPr>
          <p:cNvPr id="44" name="Rectangle 24">
            <a:extLst>
              <a:ext uri="{FF2B5EF4-FFF2-40B4-BE49-F238E27FC236}">
                <a16:creationId xmlns:a16="http://schemas.microsoft.com/office/drawing/2014/main" id="{615FBA13-ED22-898C-6668-D26768B8C131}"/>
              </a:ext>
            </a:extLst>
          </p:cNvPr>
          <p:cNvSpPr/>
          <p:nvPr/>
        </p:nvSpPr>
        <p:spPr>
          <a:xfrm>
            <a:off x="5339" y="3881865"/>
            <a:ext cx="12203065" cy="2986510"/>
          </a:xfrm>
          <a:prstGeom prst="rect">
            <a:avLst/>
          </a:prstGeom>
          <a:gradFill>
            <a:gsLst>
              <a:gs pos="55000">
                <a:srgbClr val="00384F">
                  <a:alpha val="0"/>
                </a:srgbClr>
              </a:gs>
              <a:gs pos="0">
                <a:srgbClr val="003950">
                  <a:alpha val="89000"/>
                </a:srgb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1981" tIns="71981" rIns="71981" bIns="71981"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Nova Light"/>
              <a:ea typeface="+mn-ea"/>
              <a:cs typeface="Arial" panose="020B0604020202020204" pitchFamily="34" charset="0"/>
            </a:endParaRPr>
          </a:p>
        </p:txBody>
      </p:sp>
      <p:sp>
        <p:nvSpPr>
          <p:cNvPr id="16" name="文本占位符 15">
            <a:extLst>
              <a:ext uri="{FF2B5EF4-FFF2-40B4-BE49-F238E27FC236}">
                <a16:creationId xmlns:a16="http://schemas.microsoft.com/office/drawing/2014/main" id="{C7C4CEDC-DFEB-E1F8-0A46-5A5A2341C3E5}"/>
              </a:ext>
            </a:extLst>
          </p:cNvPr>
          <p:cNvSpPr>
            <a:spLocks noGrp="1"/>
          </p:cNvSpPr>
          <p:nvPr>
            <p:ph type="body" sz="quarter" idx="22"/>
          </p:nvPr>
        </p:nvSpPr>
        <p:spPr>
          <a:xfrm>
            <a:off x="372951" y="6590984"/>
            <a:ext cx="2592000" cy="216000"/>
          </a:xfrm>
        </p:spPr>
        <p:txBody>
          <a:bodyPr/>
          <a:lstStyle/>
          <a:p>
            <a:pPr algn="ctr"/>
            <a:r>
              <a:rPr lang="en-US" altLang="zh-CN" sz="1200" b="1"/>
              <a:t>Scale &amp; Automation Available</a:t>
            </a:r>
          </a:p>
        </p:txBody>
      </p:sp>
      <p:sp>
        <p:nvSpPr>
          <p:cNvPr id="17" name="文本占位符 16">
            <a:extLst>
              <a:ext uri="{FF2B5EF4-FFF2-40B4-BE49-F238E27FC236}">
                <a16:creationId xmlns:a16="http://schemas.microsoft.com/office/drawing/2014/main" id="{8C388C00-2C84-DDF1-C556-5B5C54344F96}"/>
              </a:ext>
            </a:extLst>
          </p:cNvPr>
          <p:cNvSpPr>
            <a:spLocks noGrp="1"/>
          </p:cNvSpPr>
          <p:nvPr>
            <p:ph type="body" sz="quarter" idx="23"/>
          </p:nvPr>
        </p:nvSpPr>
        <p:spPr>
          <a:xfrm>
            <a:off x="3145467" y="6590984"/>
            <a:ext cx="2880000" cy="216000"/>
          </a:xfrm>
        </p:spPr>
        <p:txBody>
          <a:bodyPr/>
          <a:lstStyle/>
          <a:p>
            <a:pPr algn="ctr"/>
            <a:r>
              <a:rPr lang="en-US" altLang="zh-CN" sz="1200" b="1"/>
              <a:t>Flexible Solution </a:t>
            </a:r>
          </a:p>
        </p:txBody>
      </p:sp>
      <p:sp>
        <p:nvSpPr>
          <p:cNvPr id="18" name="文本占位符 17">
            <a:extLst>
              <a:ext uri="{FF2B5EF4-FFF2-40B4-BE49-F238E27FC236}">
                <a16:creationId xmlns:a16="http://schemas.microsoft.com/office/drawing/2014/main" id="{30D4B249-523D-5DAE-EA8A-3A3F190D1B3A}"/>
              </a:ext>
            </a:extLst>
          </p:cNvPr>
          <p:cNvSpPr>
            <a:spLocks noGrp="1"/>
          </p:cNvSpPr>
          <p:nvPr>
            <p:ph type="body" sz="quarter" idx="24"/>
          </p:nvPr>
        </p:nvSpPr>
        <p:spPr>
          <a:xfrm>
            <a:off x="3066101" y="2432125"/>
            <a:ext cx="2880000" cy="216000"/>
          </a:xfrm>
        </p:spPr>
        <p:txBody>
          <a:bodyPr/>
          <a:lstStyle/>
          <a:p>
            <a:pPr algn="ctr"/>
            <a:r>
              <a:rPr lang="en-US" altLang="zh-CN" sz="1200" b="1" dirty="0"/>
              <a:t>Nutrition Prevention</a:t>
            </a:r>
          </a:p>
        </p:txBody>
      </p:sp>
      <p:sp>
        <p:nvSpPr>
          <p:cNvPr id="19" name="文本占位符 18">
            <a:extLst>
              <a:ext uri="{FF2B5EF4-FFF2-40B4-BE49-F238E27FC236}">
                <a16:creationId xmlns:a16="http://schemas.microsoft.com/office/drawing/2014/main" id="{E216ABC1-4F7C-4A4D-22EA-E39B6EFDD131}"/>
              </a:ext>
            </a:extLst>
          </p:cNvPr>
          <p:cNvSpPr>
            <a:spLocks noGrp="1"/>
          </p:cNvSpPr>
          <p:nvPr>
            <p:ph type="body" sz="quarter" idx="25"/>
          </p:nvPr>
        </p:nvSpPr>
        <p:spPr>
          <a:xfrm>
            <a:off x="9193819" y="6590984"/>
            <a:ext cx="2628182" cy="216000"/>
          </a:xfrm>
        </p:spPr>
        <p:txBody>
          <a:bodyPr/>
          <a:lstStyle/>
          <a:p>
            <a:pPr algn="ctr"/>
            <a:r>
              <a:rPr lang="en-US" altLang="zh-CN" b="1" dirty="0"/>
              <a:t>Food Safety</a:t>
            </a:r>
            <a:endParaRPr lang="en-US" b="1" dirty="0"/>
          </a:p>
        </p:txBody>
      </p:sp>
      <p:sp>
        <p:nvSpPr>
          <p:cNvPr id="8" name="文本占位符 7">
            <a:extLst>
              <a:ext uri="{FF2B5EF4-FFF2-40B4-BE49-F238E27FC236}">
                <a16:creationId xmlns:a16="http://schemas.microsoft.com/office/drawing/2014/main" id="{BED78507-EEA6-DA40-2DF8-4C7841B9167B}"/>
              </a:ext>
            </a:extLst>
          </p:cNvPr>
          <p:cNvSpPr>
            <a:spLocks noGrp="1"/>
          </p:cNvSpPr>
          <p:nvPr>
            <p:ph type="body" sz="quarter" idx="14"/>
          </p:nvPr>
        </p:nvSpPr>
        <p:spPr>
          <a:xfrm>
            <a:off x="373063" y="2443688"/>
            <a:ext cx="2592000" cy="216000"/>
          </a:xfrm>
        </p:spPr>
        <p:txBody>
          <a:bodyPr/>
          <a:lstStyle/>
          <a:p>
            <a:pPr algn="ctr"/>
            <a:r>
              <a:rPr lang="en-US" b="1" dirty="0"/>
              <a:t>No</a:t>
            </a:r>
            <a:r>
              <a:rPr lang="en-US" altLang="zh-CN" b="1" dirty="0"/>
              <a:t> Water Waste</a:t>
            </a:r>
            <a:endParaRPr lang="en-US" b="1" dirty="0"/>
          </a:p>
        </p:txBody>
      </p:sp>
      <p:sp>
        <p:nvSpPr>
          <p:cNvPr id="51" name="矩形 50">
            <a:extLst>
              <a:ext uri="{FF2B5EF4-FFF2-40B4-BE49-F238E27FC236}">
                <a16:creationId xmlns:a16="http://schemas.microsoft.com/office/drawing/2014/main" id="{73E67748-49A1-2622-FAE1-C96B9116E529}"/>
              </a:ext>
            </a:extLst>
          </p:cNvPr>
          <p:cNvSpPr/>
          <p:nvPr/>
        </p:nvSpPr>
        <p:spPr>
          <a:xfrm rot="18982076" flipH="1">
            <a:off x="1599134" y="-328789"/>
            <a:ext cx="334686" cy="3264757"/>
          </a:xfrm>
          <a:prstGeom prst="rect">
            <a:avLst/>
          </a:prstGeom>
          <a:solidFill>
            <a:srgbClr val="FF0000">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lIns="72000" tIns="72000" rIns="72000" bIns="72000" rtlCol="0" anchor="ctr"/>
          <a:lstStyle/>
          <a:p>
            <a:pPr algn="ctr"/>
            <a:r>
              <a:rPr lang="en-US" sz="1600">
                <a:solidFill>
                  <a:schemeClr val="bg1"/>
                </a:solidFill>
                <a:cs typeface="Arial" panose="020B0604020202020204" pitchFamily="34" charset="0"/>
              </a:rPr>
              <a:t>NO Wastewater</a:t>
            </a:r>
          </a:p>
        </p:txBody>
      </p:sp>
      <p:sp>
        <p:nvSpPr>
          <p:cNvPr id="9" name="文本占位符 8">
            <a:extLst>
              <a:ext uri="{FF2B5EF4-FFF2-40B4-BE49-F238E27FC236}">
                <a16:creationId xmlns:a16="http://schemas.microsoft.com/office/drawing/2014/main" id="{3E407FFC-9C11-15AF-C658-96B2FF984EC8}"/>
              </a:ext>
            </a:extLst>
          </p:cNvPr>
          <p:cNvSpPr>
            <a:spLocks noGrp="1"/>
          </p:cNvSpPr>
          <p:nvPr>
            <p:ph type="body" sz="quarter" idx="15"/>
          </p:nvPr>
        </p:nvSpPr>
        <p:spPr>
          <a:xfrm>
            <a:off x="6225852" y="6590984"/>
            <a:ext cx="2880000" cy="216000"/>
          </a:xfrm>
        </p:spPr>
        <p:txBody>
          <a:bodyPr/>
          <a:lstStyle/>
          <a:p>
            <a:pPr algn="ctr"/>
            <a:r>
              <a:rPr lang="en-US" b="1" dirty="0"/>
              <a:t>High Flour Yield</a:t>
            </a:r>
          </a:p>
          <a:p>
            <a:pPr algn="ctr"/>
            <a:endParaRPr lang="en-US" b="1" dirty="0"/>
          </a:p>
        </p:txBody>
      </p:sp>
    </p:spTree>
    <p:extLst>
      <p:ext uri="{BB962C8B-B14F-4D97-AF65-F5344CB8AC3E}">
        <p14:creationId xmlns:p14="http://schemas.microsoft.com/office/powerpoint/2010/main" val="34309260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räne 46"/>
          <p:cNvSpPr/>
          <p:nvPr/>
        </p:nvSpPr>
        <p:spPr>
          <a:xfrm rot="10800000">
            <a:off x="-500107" y="2575608"/>
            <a:ext cx="6402901" cy="4930522"/>
          </a:xfrm>
          <a:prstGeom prst="teardrop">
            <a:avLst/>
          </a:prstGeom>
          <a:solidFill>
            <a:srgbClr val="FF9B32">
              <a:alpha val="14902"/>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
        <p:nvSpPr>
          <p:cNvPr id="4" name="Träne 46">
            <a:extLst>
              <a:ext uri="{FF2B5EF4-FFF2-40B4-BE49-F238E27FC236}">
                <a16:creationId xmlns:a16="http://schemas.microsoft.com/office/drawing/2014/main" id="{C229EC12-3380-FFB7-45EE-427E719EAFC2}"/>
              </a:ext>
            </a:extLst>
          </p:cNvPr>
          <p:cNvSpPr/>
          <p:nvPr/>
        </p:nvSpPr>
        <p:spPr>
          <a:xfrm>
            <a:off x="5792788" y="-801112"/>
            <a:ext cx="7356074" cy="4930522"/>
          </a:xfrm>
          <a:prstGeom prst="teardrop">
            <a:avLst/>
          </a:prstGeom>
          <a:solidFill>
            <a:srgbClr val="009B91">
              <a:alpha val="14902"/>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pic>
        <p:nvPicPr>
          <p:cNvPr id="11" name="图片 10"/>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112633" y="3804360"/>
            <a:ext cx="5640014" cy="2553600"/>
          </a:xfrm>
          <a:prstGeom prst="rect">
            <a:avLst/>
          </a:prstGeom>
        </p:spPr>
      </p:pic>
      <p:sp>
        <p:nvSpPr>
          <p:cNvPr id="59" name="矩形 58"/>
          <p:cNvSpPr/>
          <p:nvPr/>
        </p:nvSpPr>
        <p:spPr>
          <a:xfrm>
            <a:off x="2820987" y="1295400"/>
            <a:ext cx="7092142" cy="2089444"/>
          </a:xfrm>
          <a:prstGeom prst="rect">
            <a:avLst/>
          </a:prstGeom>
          <a:solidFill>
            <a:srgbClr val="FFFF00">
              <a:alpha val="33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600">
              <a:solidFill>
                <a:schemeClr val="tx2"/>
              </a:solidFill>
              <a:latin typeface="阿里巴巴普惠体 M" panose="00020600040101010101" pitchFamily="18" charset="-122"/>
              <a:ea typeface="阿里巴巴普惠体 Medium" panose="00020600040101010101"/>
              <a:cs typeface="阿里巴巴普惠体 M" panose="00020600040101010101" pitchFamily="18" charset="-122"/>
            </a:endParaRPr>
          </a:p>
        </p:txBody>
      </p:sp>
      <p:sp>
        <p:nvSpPr>
          <p:cNvPr id="6" name="标题 5"/>
          <p:cNvSpPr>
            <a:spLocks noGrp="1"/>
          </p:cNvSpPr>
          <p:nvPr>
            <p:ph type="title"/>
          </p:nvPr>
        </p:nvSpPr>
        <p:spPr/>
        <p:txBody>
          <a:bodyPr/>
          <a:lstStyle/>
          <a:p>
            <a:r>
              <a:rPr lang="en-US" altLang="zh-CN" dirty="0">
                <a:ea typeface="阿里巴巴普惠体 Medium" panose="00020600040101010101"/>
              </a:rPr>
              <a:t>Rice Flour Dry Milling Solution Overview</a:t>
            </a:r>
            <a:endParaRPr lang="en-US" dirty="0">
              <a:ea typeface="阿里巴巴普惠体 Medium" panose="00020600040101010101"/>
            </a:endParaRPr>
          </a:p>
        </p:txBody>
      </p:sp>
      <p:sp>
        <p:nvSpPr>
          <p:cNvPr id="2" name="页脚占位符 1"/>
          <p:cNvSpPr>
            <a:spLocks noGrp="1"/>
          </p:cNvSpPr>
          <p:nvPr>
            <p:ph type="ftr" sz="quarter" idx="11"/>
          </p:nvPr>
        </p:nvSpPr>
        <p:spPr/>
        <p:txBody>
          <a:bodyPr/>
          <a:lstStyle/>
          <a:p>
            <a:r>
              <a:rPr lang="en-US"/>
              <a:t>Buhler Rice FLour Dry Milling Solution |  Buhler GF-Food</a:t>
            </a:r>
          </a:p>
        </p:txBody>
      </p:sp>
      <p:sp>
        <p:nvSpPr>
          <p:cNvPr id="28" name="圆角矩形 27"/>
          <p:cNvSpPr/>
          <p:nvPr/>
        </p:nvSpPr>
        <p:spPr>
          <a:xfrm>
            <a:off x="2987586" y="1445657"/>
            <a:ext cx="2971800" cy="3810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a:solidFill>
                  <a:schemeClr val="bg1"/>
                </a:solidFill>
                <a:latin typeface="阿里巴巴普惠体 M" panose="00020600040101010101" pitchFamily="18" charset="-122"/>
                <a:ea typeface="阿里巴巴普惠体 Medium" panose="00020600040101010101"/>
                <a:cs typeface="阿里巴巴普惠体 M" panose="00020600040101010101" pitchFamily="18" charset="-122"/>
              </a:rPr>
              <a:t>With Water adding</a:t>
            </a:r>
          </a:p>
        </p:txBody>
      </p:sp>
      <p:sp>
        <p:nvSpPr>
          <p:cNvPr id="29" name="圆角矩形 28"/>
          <p:cNvSpPr/>
          <p:nvPr/>
        </p:nvSpPr>
        <p:spPr>
          <a:xfrm>
            <a:off x="6361520" y="1445657"/>
            <a:ext cx="3276600" cy="11512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1200">
                <a:solidFill>
                  <a:schemeClr val="bg1"/>
                </a:solidFill>
                <a:latin typeface="阿里巴巴普惠体 M" panose="00020600040101010101" pitchFamily="18" charset="-122"/>
                <a:ea typeface="阿里巴巴普惠体 Medium" panose="00020600040101010101"/>
                <a:cs typeface="阿里巴巴普惠体 M" panose="00020600040101010101" pitchFamily="18" charset="-122"/>
              </a:rPr>
              <a:t>Super Fine Grinding</a:t>
            </a:r>
          </a:p>
          <a:p>
            <a:pPr algn="ctr"/>
            <a:r>
              <a:rPr lang="en-US" sz="1200">
                <a:solidFill>
                  <a:schemeClr val="bg1"/>
                </a:solidFill>
                <a:latin typeface="阿里巴巴普惠体 M" panose="00020600040101010101" pitchFamily="18" charset="-122"/>
                <a:ea typeface="阿里巴巴普惠体 Medium" panose="00020600040101010101"/>
                <a:cs typeface="阿里巴巴普惠体 M" panose="00020600040101010101" pitchFamily="18" charset="-122"/>
              </a:rPr>
              <a:t>White Color</a:t>
            </a:r>
          </a:p>
          <a:p>
            <a:pPr algn="ctr"/>
            <a:r>
              <a:rPr lang="en-US" sz="1200">
                <a:solidFill>
                  <a:schemeClr val="bg1"/>
                </a:solidFill>
                <a:latin typeface="阿里巴巴普惠体 M" panose="00020600040101010101" pitchFamily="18" charset="-122"/>
                <a:ea typeface="阿里巴巴普惠体 Medium" panose="00020600040101010101"/>
                <a:cs typeface="阿里巴巴普惠体 M" panose="00020600040101010101" pitchFamily="18" charset="-122"/>
              </a:rPr>
              <a:t>Similar Properties to Wet</a:t>
            </a:r>
          </a:p>
        </p:txBody>
      </p:sp>
      <p:cxnSp>
        <p:nvCxnSpPr>
          <p:cNvPr id="8" name="直接连接符 7"/>
          <p:cNvCxnSpPr>
            <a:stCxn id="42" idx="3"/>
            <a:endCxn id="43" idx="1"/>
          </p:cNvCxnSpPr>
          <p:nvPr/>
        </p:nvCxnSpPr>
        <p:spPr>
          <a:xfrm>
            <a:off x="5427440" y="3086100"/>
            <a:ext cx="1584547" cy="0"/>
          </a:xfrm>
          <a:prstGeom prst="line">
            <a:avLst/>
          </a:prstGeom>
          <a:ln/>
        </p:spPr>
        <p:style>
          <a:lnRef idx="3">
            <a:schemeClr val="dk1"/>
          </a:lnRef>
          <a:fillRef idx="0">
            <a:schemeClr val="dk1"/>
          </a:fillRef>
          <a:effectRef idx="2">
            <a:schemeClr val="dk1"/>
          </a:effectRef>
          <a:fontRef idx="minor">
            <a:schemeClr val="tx1"/>
          </a:fontRef>
        </p:style>
      </p:cxnSp>
      <p:grpSp>
        <p:nvGrpSpPr>
          <p:cNvPr id="14" name="组合 13"/>
          <p:cNvGrpSpPr/>
          <p:nvPr/>
        </p:nvGrpSpPr>
        <p:grpSpPr>
          <a:xfrm>
            <a:off x="382587" y="2895600"/>
            <a:ext cx="11521853" cy="381000"/>
            <a:chOff x="268950" y="3886200"/>
            <a:chExt cx="11521853" cy="252000"/>
          </a:xfrm>
        </p:grpSpPr>
        <p:sp>
          <p:nvSpPr>
            <p:cNvPr id="41" name="AutoShape 7"/>
            <p:cNvSpPr>
              <a:spLocks noChangeArrowheads="1"/>
            </p:cNvSpPr>
            <p:nvPr/>
          </p:nvSpPr>
          <p:spPr bwMode="auto">
            <a:xfrm>
              <a:off x="268950" y="3886200"/>
              <a:ext cx="1920653" cy="252000"/>
            </a:xfrm>
            <a:prstGeom prst="roundRect">
              <a:avLst>
                <a:gd name="adj" fmla="val 50000"/>
              </a:avLst>
            </a:prstGeom>
            <a:solidFill>
              <a:schemeClr val="accent5"/>
            </a:solidFill>
            <a:ln w="1905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spcBef>
                  <a:spcPct val="0"/>
                </a:spcBef>
              </a:pPr>
              <a:r>
                <a:rPr lang="en-US" sz="1200">
                  <a:solidFill>
                    <a:schemeClr val="bg1"/>
                  </a:solidFill>
                  <a:latin typeface="阿里巴巴普惠体 M" panose="00020600040101010101" pitchFamily="18" charset="-122"/>
                  <a:ea typeface="阿里巴巴普惠体 Medium" panose="00020600040101010101"/>
                  <a:cs typeface="阿里巴巴普惠体 M" panose="00020600040101010101" pitchFamily="18" charset="-122"/>
                </a:rPr>
                <a:t>Rice Intake</a:t>
              </a:r>
            </a:p>
          </p:txBody>
        </p:sp>
        <p:sp>
          <p:nvSpPr>
            <p:cNvPr id="42" name="AutoShape 7"/>
            <p:cNvSpPr>
              <a:spLocks noChangeArrowheads="1"/>
            </p:cNvSpPr>
            <p:nvPr/>
          </p:nvSpPr>
          <p:spPr bwMode="auto">
            <a:xfrm>
              <a:off x="3393150" y="3886200"/>
              <a:ext cx="1920653" cy="252000"/>
            </a:xfrm>
            <a:prstGeom prst="roundRect">
              <a:avLst>
                <a:gd name="adj" fmla="val 50000"/>
              </a:avLst>
            </a:prstGeom>
            <a:solidFill>
              <a:schemeClr val="accent5"/>
            </a:solidFill>
            <a:ln w="1905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spcBef>
                  <a:spcPct val="0"/>
                </a:spcBef>
              </a:pPr>
              <a:r>
                <a:rPr lang="en-US" sz="1200">
                  <a:solidFill>
                    <a:schemeClr val="bg1"/>
                  </a:solidFill>
                  <a:latin typeface="阿里巴巴普惠体 M" panose="00020600040101010101" pitchFamily="18" charset="-122"/>
                  <a:ea typeface="阿里巴巴普惠体 Medium" panose="00020600040101010101"/>
                  <a:cs typeface="阿里巴巴普惠体 M" panose="00020600040101010101" pitchFamily="18" charset="-122"/>
                </a:rPr>
                <a:t>Cleaning</a:t>
              </a:r>
            </a:p>
          </p:txBody>
        </p:sp>
        <p:sp>
          <p:nvSpPr>
            <p:cNvPr id="43" name="AutoShape 7"/>
            <p:cNvSpPr>
              <a:spLocks noChangeArrowheads="1"/>
            </p:cNvSpPr>
            <p:nvPr/>
          </p:nvSpPr>
          <p:spPr bwMode="auto">
            <a:xfrm>
              <a:off x="6898350" y="3886200"/>
              <a:ext cx="1920653" cy="252000"/>
            </a:xfrm>
            <a:prstGeom prst="roundRect">
              <a:avLst>
                <a:gd name="adj" fmla="val 50000"/>
              </a:avLst>
            </a:prstGeom>
            <a:solidFill>
              <a:schemeClr val="accent5"/>
            </a:solidFill>
            <a:ln w="1905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spcBef>
                  <a:spcPct val="0"/>
                </a:spcBef>
              </a:pPr>
              <a:r>
                <a:rPr lang="en-US" sz="1200">
                  <a:solidFill>
                    <a:schemeClr val="bg1"/>
                  </a:solidFill>
                  <a:latin typeface="阿里巴巴普惠体 M" panose="00020600040101010101" pitchFamily="18" charset="-122"/>
                  <a:ea typeface="阿里巴巴普惠体 Medium" panose="00020600040101010101"/>
                  <a:cs typeface="阿里巴巴普惠体 M" panose="00020600040101010101" pitchFamily="18" charset="-122"/>
                </a:rPr>
                <a:t>Milling</a:t>
              </a:r>
            </a:p>
          </p:txBody>
        </p:sp>
        <p:sp>
          <p:nvSpPr>
            <p:cNvPr id="44" name="AutoShape 7"/>
            <p:cNvSpPr>
              <a:spLocks noChangeArrowheads="1"/>
            </p:cNvSpPr>
            <p:nvPr/>
          </p:nvSpPr>
          <p:spPr bwMode="auto">
            <a:xfrm>
              <a:off x="9870150" y="3886200"/>
              <a:ext cx="1920653" cy="252000"/>
            </a:xfrm>
            <a:prstGeom prst="roundRect">
              <a:avLst>
                <a:gd name="adj" fmla="val 50000"/>
              </a:avLst>
            </a:prstGeom>
            <a:solidFill>
              <a:schemeClr val="accent5"/>
            </a:solidFill>
            <a:ln w="1905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spcBef>
                  <a:spcPct val="0"/>
                </a:spcBef>
              </a:pPr>
              <a:r>
                <a:rPr lang="en-US" sz="1200">
                  <a:solidFill>
                    <a:schemeClr val="bg1"/>
                  </a:solidFill>
                  <a:latin typeface="阿里巴巴普惠体 M" panose="00020600040101010101" pitchFamily="18" charset="-122"/>
                  <a:ea typeface="阿里巴巴普惠体 Medium" panose="00020600040101010101"/>
                  <a:cs typeface="阿里巴巴普惠体 M" panose="00020600040101010101" pitchFamily="18" charset="-122"/>
                </a:rPr>
                <a:t>Rice Flour</a:t>
              </a:r>
            </a:p>
          </p:txBody>
        </p:sp>
        <p:cxnSp>
          <p:nvCxnSpPr>
            <p:cNvPr id="5" name="直接连接符 4"/>
            <p:cNvCxnSpPr>
              <a:stCxn id="41" idx="3"/>
              <a:endCxn id="42" idx="1"/>
            </p:cNvCxnSpPr>
            <p:nvPr/>
          </p:nvCxnSpPr>
          <p:spPr>
            <a:xfrm>
              <a:off x="2189603" y="4012200"/>
              <a:ext cx="1203547" cy="0"/>
            </a:xfrm>
            <a:prstGeom prst="line">
              <a:avLst/>
            </a:prstGeom>
            <a:ln/>
          </p:spPr>
          <p:style>
            <a:lnRef idx="3">
              <a:schemeClr val="dk1"/>
            </a:lnRef>
            <a:fillRef idx="0">
              <a:schemeClr val="dk1"/>
            </a:fillRef>
            <a:effectRef idx="2">
              <a:schemeClr val="dk1"/>
            </a:effectRef>
            <a:fontRef idx="minor">
              <a:schemeClr val="tx1"/>
            </a:fontRef>
          </p:style>
        </p:cxnSp>
        <p:cxnSp>
          <p:nvCxnSpPr>
            <p:cNvPr id="12" name="直接连接符 11"/>
            <p:cNvCxnSpPr>
              <a:stCxn id="43" idx="3"/>
              <a:endCxn id="44" idx="1"/>
            </p:cNvCxnSpPr>
            <p:nvPr/>
          </p:nvCxnSpPr>
          <p:spPr>
            <a:xfrm>
              <a:off x="8819003" y="4012200"/>
              <a:ext cx="1051147" cy="0"/>
            </a:xfrm>
            <a:prstGeom prst="line">
              <a:avLst/>
            </a:prstGeom>
            <a:ln/>
          </p:spPr>
          <p:style>
            <a:lnRef idx="3">
              <a:schemeClr val="dk1"/>
            </a:lnRef>
            <a:fillRef idx="0">
              <a:schemeClr val="dk1"/>
            </a:fillRef>
            <a:effectRef idx="2">
              <a:schemeClr val="dk1"/>
            </a:effectRef>
            <a:fontRef idx="minor">
              <a:schemeClr val="tx1"/>
            </a:fontRef>
          </p:style>
        </p:cxnSp>
      </p:grpSp>
      <p:sp>
        <p:nvSpPr>
          <p:cNvPr id="3" name="矩形 2"/>
          <p:cNvSpPr/>
          <p:nvPr/>
        </p:nvSpPr>
        <p:spPr>
          <a:xfrm>
            <a:off x="589992" y="3723777"/>
            <a:ext cx="4953000" cy="2634183"/>
          </a:xfrm>
          <a:prstGeom prst="rect">
            <a:avLst/>
          </a:prstGeom>
        </p:spPr>
        <p:txBody>
          <a:bodyPr wrap="square">
            <a:spAutoFit/>
          </a:bodyPr>
          <a:lstStyle/>
          <a:p>
            <a:pPr>
              <a:lnSpc>
                <a:spcPct val="150000"/>
              </a:lnSpc>
            </a:pPr>
            <a:r>
              <a:rPr lang="en-US" altLang="zh-CN" sz="1600" b="1" dirty="0">
                <a:solidFill>
                  <a:schemeClr val="tx2"/>
                </a:solidFill>
                <a:latin typeface="+mn-ea"/>
                <a:cs typeface="阿里巴巴普惠体 M" panose="00020600040101010101" pitchFamily="18" charset="-122"/>
              </a:rPr>
              <a:t>Goal:</a:t>
            </a:r>
          </a:p>
          <a:p>
            <a:pPr marL="285750" indent="-285750">
              <a:lnSpc>
                <a:spcPct val="150000"/>
              </a:lnSpc>
              <a:buFontTx/>
              <a:buChar char="-"/>
            </a:pPr>
            <a:r>
              <a:rPr lang="en-US" altLang="zh-CN" sz="1600" dirty="0">
                <a:solidFill>
                  <a:schemeClr val="tx2"/>
                </a:solidFill>
                <a:latin typeface="+mn-ea"/>
                <a:cs typeface="阿里巴巴普惠体 M" panose="00020600040101010101" pitchFamily="18" charset="-122"/>
              </a:rPr>
              <a:t>Replace Wet grinding for Rice Flour</a:t>
            </a:r>
          </a:p>
          <a:p>
            <a:pPr marL="285750" indent="-285750">
              <a:lnSpc>
                <a:spcPct val="150000"/>
              </a:lnSpc>
              <a:buFontTx/>
              <a:buChar char="-"/>
            </a:pPr>
            <a:r>
              <a:rPr lang="en-US" altLang="de-DE" sz="1600" dirty="0">
                <a:solidFill>
                  <a:schemeClr val="tx2"/>
                </a:solidFill>
                <a:latin typeface="+mn-ea"/>
                <a:cs typeface="阿里巴巴普惠体 M" panose="00020600040101010101" pitchFamily="18" charset="-122"/>
              </a:rPr>
              <a:t>Flour quality same or better than conventional process </a:t>
            </a:r>
          </a:p>
          <a:p>
            <a:pPr marL="285750" indent="-285750">
              <a:lnSpc>
                <a:spcPct val="150000"/>
              </a:lnSpc>
              <a:buFontTx/>
              <a:buChar char="-"/>
            </a:pPr>
            <a:r>
              <a:rPr lang="en-US" altLang="zh-CN" sz="1600" dirty="0">
                <a:solidFill>
                  <a:schemeClr val="tx2"/>
                </a:solidFill>
                <a:latin typeface="+mn-ea"/>
                <a:cs typeface="阿里巴巴普惠体 M" panose="00020600040101010101" pitchFamily="18" charset="-122"/>
              </a:rPr>
              <a:t>Quality of the flour is more </a:t>
            </a:r>
            <a:r>
              <a:rPr lang="en-US" altLang="de-DE" sz="1600" dirty="0">
                <a:solidFill>
                  <a:schemeClr val="tx2"/>
                </a:solidFill>
                <a:latin typeface="+mn-ea"/>
                <a:cs typeface="阿里巴巴普惠体 M" panose="00020600040101010101" pitchFamily="18" charset="-122"/>
              </a:rPr>
              <a:t>Stable and easy control</a:t>
            </a:r>
          </a:p>
          <a:p>
            <a:pPr marL="285750" indent="-285750">
              <a:lnSpc>
                <a:spcPct val="150000"/>
              </a:lnSpc>
              <a:buFontTx/>
              <a:buChar char="-"/>
            </a:pPr>
            <a:r>
              <a:rPr lang="en-US" altLang="zh-CN" sz="1600" dirty="0">
                <a:solidFill>
                  <a:schemeClr val="tx2"/>
                </a:solidFill>
                <a:latin typeface="+mn-ea"/>
                <a:cs typeface="阿里巴巴普惠体 M" panose="00020600040101010101" pitchFamily="18" charset="-122"/>
              </a:rPr>
              <a:t>Higher Flour Yield (Reduce waste)</a:t>
            </a:r>
          </a:p>
        </p:txBody>
      </p:sp>
    </p:spTree>
    <p:extLst>
      <p:ext uri="{BB962C8B-B14F-4D97-AF65-F5344CB8AC3E}">
        <p14:creationId xmlns:p14="http://schemas.microsoft.com/office/powerpoint/2010/main" val="36869388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184894C-D1CC-6AA5-D430-61BB70D8E1A8}"/>
              </a:ext>
            </a:extLst>
          </p:cNvPr>
          <p:cNvSpPr>
            <a:spLocks noGrp="1"/>
          </p:cNvSpPr>
          <p:nvPr>
            <p:ph type="title"/>
          </p:nvPr>
        </p:nvSpPr>
        <p:spPr/>
        <p:txBody>
          <a:bodyPr/>
          <a:lstStyle/>
          <a:p>
            <a:r>
              <a:rPr lang="en-US" altLang="zh-CN" dirty="0"/>
              <a:t>Multi- Application of Rice Flour</a:t>
            </a:r>
            <a:br>
              <a:rPr lang="en-US" altLang="zh-CN" dirty="0"/>
            </a:br>
            <a:r>
              <a:rPr lang="en-US" altLang="zh-CN" dirty="0">
                <a:ea typeface="阿里巴巴普惠体 Medium" panose="00020600040101010101"/>
              </a:rPr>
              <a:t>Flexible to meet different Customer Requirements</a:t>
            </a:r>
            <a:endParaRPr lang="en-US" altLang="zh-CN" dirty="0"/>
          </a:p>
        </p:txBody>
      </p:sp>
      <p:sp>
        <p:nvSpPr>
          <p:cNvPr id="3" name="页脚占位符 2">
            <a:extLst>
              <a:ext uri="{FF2B5EF4-FFF2-40B4-BE49-F238E27FC236}">
                <a16:creationId xmlns:a16="http://schemas.microsoft.com/office/drawing/2014/main" id="{06C30F8A-53B4-A928-75D6-A4A205220FA6}"/>
              </a:ext>
            </a:extLst>
          </p:cNvPr>
          <p:cNvSpPr>
            <a:spLocks noGrp="1"/>
          </p:cNvSpPr>
          <p:nvPr>
            <p:ph type="ftr" sz="quarter" idx="10"/>
          </p:nvPr>
        </p:nvSpPr>
        <p:spPr/>
        <p:txBody>
          <a:bodyPr/>
          <a:lstStyle/>
          <a:p>
            <a:r>
              <a:rPr lang="en-US"/>
              <a:t>Buhler Rice FLour Dry Milling Solution |  Buhler GF-Food</a:t>
            </a:r>
          </a:p>
        </p:txBody>
      </p:sp>
      <p:pic>
        <p:nvPicPr>
          <p:cNvPr id="1026" name="Picture 2">
            <a:extLst>
              <a:ext uri="{FF2B5EF4-FFF2-40B4-BE49-F238E27FC236}">
                <a16:creationId xmlns:a16="http://schemas.microsoft.com/office/drawing/2014/main" id="{B9D9AC23-F994-52EE-96B8-D14A3CA1F0D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697" y="1984801"/>
            <a:ext cx="1859938" cy="185993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A703C979-BBC2-DDBA-BA40-D94AA2B3A2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75" y="4573153"/>
            <a:ext cx="1859938" cy="187792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8F89A814-6D6F-6EFE-8FB4-6204602E57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62250" y="1984801"/>
            <a:ext cx="1859938" cy="185721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9573A8B1-B6E3-A8B2-5187-CBD0EAE1DA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4227" y="4591147"/>
            <a:ext cx="1859940" cy="1859939"/>
          </a:xfrm>
          <a:prstGeom prst="rect">
            <a:avLst/>
          </a:prstGeom>
          <a:noFill/>
          <a:extLst>
            <a:ext uri="{909E8E84-426E-40DD-AFC4-6F175D3DCCD1}">
              <a14:hiddenFill xmlns:a14="http://schemas.microsoft.com/office/drawing/2010/main">
                <a:solidFill>
                  <a:srgbClr val="FFFFFF"/>
                </a:solidFill>
              </a14:hiddenFill>
            </a:ext>
          </a:extLst>
        </p:spPr>
      </p:pic>
      <p:pic>
        <p:nvPicPr>
          <p:cNvPr id="5" name="图片 4">
            <a:extLst>
              <a:ext uri="{FF2B5EF4-FFF2-40B4-BE49-F238E27FC236}">
                <a16:creationId xmlns:a16="http://schemas.microsoft.com/office/drawing/2014/main" id="{88E92807-7FD3-9582-571D-C0906450D7B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35159" y="1984801"/>
            <a:ext cx="1854281" cy="1835122"/>
          </a:xfrm>
          <a:prstGeom prst="rect">
            <a:avLst/>
          </a:prstGeom>
        </p:spPr>
      </p:pic>
      <p:pic>
        <p:nvPicPr>
          <p:cNvPr id="6" name="图片 5">
            <a:extLst>
              <a:ext uri="{FF2B5EF4-FFF2-40B4-BE49-F238E27FC236}">
                <a16:creationId xmlns:a16="http://schemas.microsoft.com/office/drawing/2014/main" id="{5711F3E4-56EE-B3D9-D951-988648919AC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31386" y="1984801"/>
            <a:ext cx="1854280" cy="1857215"/>
          </a:xfrm>
          <a:prstGeom prst="rect">
            <a:avLst/>
          </a:prstGeom>
        </p:spPr>
      </p:pic>
      <p:pic>
        <p:nvPicPr>
          <p:cNvPr id="7" name="图片 6">
            <a:extLst>
              <a:ext uri="{FF2B5EF4-FFF2-40B4-BE49-F238E27FC236}">
                <a16:creationId xmlns:a16="http://schemas.microsoft.com/office/drawing/2014/main" id="{FF4546F4-7276-81C7-6D26-68A06A9DECF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46658" y="4591149"/>
            <a:ext cx="1830316" cy="1857214"/>
          </a:xfrm>
          <a:prstGeom prst="rect">
            <a:avLst/>
          </a:prstGeom>
        </p:spPr>
      </p:pic>
      <p:pic>
        <p:nvPicPr>
          <p:cNvPr id="9" name="图片 8">
            <a:extLst>
              <a:ext uri="{FF2B5EF4-FFF2-40B4-BE49-F238E27FC236}">
                <a16:creationId xmlns:a16="http://schemas.microsoft.com/office/drawing/2014/main" id="{8C8FBDAE-B46B-08C9-736F-0D701B887E0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023363" y="4609143"/>
            <a:ext cx="1854280" cy="1835122"/>
          </a:xfrm>
          <a:prstGeom prst="rect">
            <a:avLst/>
          </a:prstGeom>
        </p:spPr>
      </p:pic>
      <p:pic>
        <p:nvPicPr>
          <p:cNvPr id="11" name="图片 10">
            <a:extLst>
              <a:ext uri="{FF2B5EF4-FFF2-40B4-BE49-F238E27FC236}">
                <a16:creationId xmlns:a16="http://schemas.microsoft.com/office/drawing/2014/main" id="{734709A5-079D-4C38-6F10-82CC20002323}"/>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6795"/>
          <a:stretch/>
        </p:blipFill>
        <p:spPr>
          <a:xfrm>
            <a:off x="10009465" y="1984801"/>
            <a:ext cx="1854281" cy="1835122"/>
          </a:xfrm>
          <a:prstGeom prst="rect">
            <a:avLst/>
          </a:prstGeom>
        </p:spPr>
      </p:pic>
      <p:pic>
        <p:nvPicPr>
          <p:cNvPr id="12" name="图片 11">
            <a:extLst>
              <a:ext uri="{FF2B5EF4-FFF2-40B4-BE49-F238E27FC236}">
                <a16:creationId xmlns:a16="http://schemas.microsoft.com/office/drawing/2014/main" id="{C58425AC-8281-AC0B-A8ED-DDC113349E2D}"/>
              </a:ext>
            </a:extLst>
          </p:cNvPr>
          <p:cNvPicPr>
            <a:picLocks noChangeAspect="1"/>
          </p:cNvPicPr>
          <p:nvPr/>
        </p:nvPicPr>
        <p:blipFill rotWithShape="1">
          <a:blip r:embed="rId11">
            <a:extLst>
              <a:ext uri="{28A0092B-C50C-407E-A947-70E740481C1C}">
                <a14:useLocalDpi xmlns:a14="http://schemas.microsoft.com/office/drawing/2010/main" val="0"/>
              </a:ext>
            </a:extLst>
          </a:blip>
          <a:srcRect t="31160"/>
          <a:stretch/>
        </p:blipFill>
        <p:spPr>
          <a:xfrm>
            <a:off x="10009465" y="4591146"/>
            <a:ext cx="1851817" cy="1853984"/>
          </a:xfrm>
          <a:prstGeom prst="rect">
            <a:avLst/>
          </a:prstGeom>
        </p:spPr>
      </p:pic>
      <p:pic>
        <p:nvPicPr>
          <p:cNvPr id="14" name="图片 13">
            <a:extLst>
              <a:ext uri="{FF2B5EF4-FFF2-40B4-BE49-F238E27FC236}">
                <a16:creationId xmlns:a16="http://schemas.microsoft.com/office/drawing/2014/main" id="{5511AB22-AC97-086D-DEB6-4CA16D5A3A9A}"/>
              </a:ext>
            </a:extLst>
          </p:cNvPr>
          <p:cNvPicPr>
            <a:picLocks noChangeAspect="1"/>
          </p:cNvPicPr>
          <p:nvPr/>
        </p:nvPicPr>
        <p:blipFill rotWithShape="1">
          <a:blip r:embed="rId12">
            <a:extLst>
              <a:ext uri="{28A0092B-C50C-407E-A947-70E740481C1C}">
                <a14:useLocalDpi xmlns:a14="http://schemas.microsoft.com/office/drawing/2010/main" val="0"/>
              </a:ext>
            </a:extLst>
          </a:blip>
          <a:srcRect t="9750" b="11502"/>
          <a:stretch/>
        </p:blipFill>
        <p:spPr>
          <a:xfrm>
            <a:off x="8038933" y="1984801"/>
            <a:ext cx="1854281" cy="1835122"/>
          </a:xfrm>
          <a:prstGeom prst="rect">
            <a:avLst/>
          </a:prstGeom>
        </p:spPr>
      </p:pic>
      <p:pic>
        <p:nvPicPr>
          <p:cNvPr id="15" name="图片 14">
            <a:extLst>
              <a:ext uri="{FF2B5EF4-FFF2-40B4-BE49-F238E27FC236}">
                <a16:creationId xmlns:a16="http://schemas.microsoft.com/office/drawing/2014/main" id="{1B67BE67-FD50-A2EB-33BA-FE6B84B2404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033375" y="4591146"/>
            <a:ext cx="1851817" cy="1859937"/>
          </a:xfrm>
          <a:prstGeom prst="rect">
            <a:avLst/>
          </a:prstGeom>
        </p:spPr>
      </p:pic>
      <p:sp>
        <p:nvSpPr>
          <p:cNvPr id="18" name="文本框 17">
            <a:extLst>
              <a:ext uri="{FF2B5EF4-FFF2-40B4-BE49-F238E27FC236}">
                <a16:creationId xmlns:a16="http://schemas.microsoft.com/office/drawing/2014/main" id="{3B18A2D1-5401-C52D-3B19-E40FA8C4A543}"/>
              </a:ext>
            </a:extLst>
          </p:cNvPr>
          <p:cNvSpPr txBox="1"/>
          <p:nvPr/>
        </p:nvSpPr>
        <p:spPr>
          <a:xfrm>
            <a:off x="243195" y="1588977"/>
            <a:ext cx="1817919" cy="468384"/>
          </a:xfrm>
          <a:prstGeom prst="rect">
            <a:avLst/>
          </a:prstGeom>
          <a:noFill/>
        </p:spPr>
        <p:txBody>
          <a:bodyPr wrap="square" lIns="0" tIns="0" rIns="0" bIns="0" rtlCol="0">
            <a:noAutofit/>
          </a:bodyPr>
          <a:lstStyle/>
          <a:p>
            <a:pPr algn="ctr"/>
            <a:r>
              <a:rPr lang="en-US" altLang="zh-CN" sz="1600" dirty="0">
                <a:solidFill>
                  <a:schemeClr val="tx2"/>
                </a:solidFill>
                <a:latin typeface="+mn-ea"/>
                <a:cs typeface="阿里巴巴普惠体 M" panose="00020600040101010101" pitchFamily="18" charset="-122"/>
              </a:rPr>
              <a:t>Straight rice noodle</a:t>
            </a:r>
          </a:p>
        </p:txBody>
      </p:sp>
      <p:sp>
        <p:nvSpPr>
          <p:cNvPr id="19" name="文本框 18">
            <a:extLst>
              <a:ext uri="{FF2B5EF4-FFF2-40B4-BE49-F238E27FC236}">
                <a16:creationId xmlns:a16="http://schemas.microsoft.com/office/drawing/2014/main" id="{9D737E99-3E6E-229B-E822-48C681AE7992}"/>
              </a:ext>
            </a:extLst>
          </p:cNvPr>
          <p:cNvSpPr txBox="1"/>
          <p:nvPr/>
        </p:nvSpPr>
        <p:spPr>
          <a:xfrm>
            <a:off x="514099" y="4265303"/>
            <a:ext cx="1084083" cy="267121"/>
          </a:xfrm>
          <a:prstGeom prst="rect">
            <a:avLst/>
          </a:prstGeom>
          <a:noFill/>
        </p:spPr>
        <p:txBody>
          <a:bodyPr wrap="square" lIns="0" tIns="0" rIns="0" bIns="0" rtlCol="0">
            <a:noAutofit/>
          </a:bodyPr>
          <a:lstStyle/>
          <a:p>
            <a:pPr algn="l">
              <a:spcAft>
                <a:spcPts val="600"/>
              </a:spcAft>
            </a:pPr>
            <a:endParaRPr lang="en-US" altLang="zh-CN" sz="1600">
              <a:solidFill>
                <a:schemeClr val="tx2"/>
              </a:solidFill>
              <a:latin typeface="阿里巴巴普惠体 M" panose="00020600040101010101" pitchFamily="18" charset="-122"/>
              <a:ea typeface="阿里巴巴普惠体 Medium" panose="00020600040101010101"/>
              <a:cs typeface="阿里巴巴普惠体 M" panose="00020600040101010101" pitchFamily="18" charset="-122"/>
            </a:endParaRPr>
          </a:p>
        </p:txBody>
      </p:sp>
      <p:sp>
        <p:nvSpPr>
          <p:cNvPr id="20" name="文本框 19">
            <a:extLst>
              <a:ext uri="{FF2B5EF4-FFF2-40B4-BE49-F238E27FC236}">
                <a16:creationId xmlns:a16="http://schemas.microsoft.com/office/drawing/2014/main" id="{0324D274-634C-59A3-A2B8-5A0F8F55ACEF}"/>
              </a:ext>
            </a:extLst>
          </p:cNvPr>
          <p:cNvSpPr txBox="1"/>
          <p:nvPr/>
        </p:nvSpPr>
        <p:spPr>
          <a:xfrm>
            <a:off x="178230" y="4229161"/>
            <a:ext cx="1817919" cy="468384"/>
          </a:xfrm>
          <a:prstGeom prst="rect">
            <a:avLst/>
          </a:prstGeom>
          <a:noFill/>
        </p:spPr>
        <p:txBody>
          <a:bodyPr wrap="square" lIns="0" tIns="0" rIns="0" bIns="0" rtlCol="0">
            <a:noAutofit/>
          </a:bodyPr>
          <a:lstStyle/>
          <a:p>
            <a:pPr algn="ctr"/>
            <a:r>
              <a:rPr lang="en-US" altLang="zh-CN" sz="1600">
                <a:solidFill>
                  <a:schemeClr val="tx2"/>
                </a:solidFill>
                <a:latin typeface="+mn-ea"/>
                <a:cs typeface="阿里巴巴普惠体 M" panose="00020600040101010101" pitchFamily="18" charset="-122"/>
              </a:rPr>
              <a:t>Fresh rice noodle</a:t>
            </a:r>
          </a:p>
        </p:txBody>
      </p:sp>
      <p:sp>
        <p:nvSpPr>
          <p:cNvPr id="21" name="文本框 20">
            <a:extLst>
              <a:ext uri="{FF2B5EF4-FFF2-40B4-BE49-F238E27FC236}">
                <a16:creationId xmlns:a16="http://schemas.microsoft.com/office/drawing/2014/main" id="{F5A5BFC8-021F-B189-4FFC-9BC26BAC7322}"/>
              </a:ext>
            </a:extLst>
          </p:cNvPr>
          <p:cNvSpPr txBox="1"/>
          <p:nvPr/>
        </p:nvSpPr>
        <p:spPr>
          <a:xfrm>
            <a:off x="2199758" y="1588977"/>
            <a:ext cx="1817919" cy="468384"/>
          </a:xfrm>
          <a:prstGeom prst="rect">
            <a:avLst/>
          </a:prstGeom>
          <a:noFill/>
        </p:spPr>
        <p:txBody>
          <a:bodyPr wrap="square" lIns="0" tIns="0" rIns="0" bIns="0" rtlCol="0">
            <a:noAutofit/>
          </a:bodyPr>
          <a:lstStyle/>
          <a:p>
            <a:pPr algn="ctr"/>
            <a:r>
              <a:rPr lang="en-US" altLang="zh-CN" sz="1600" dirty="0">
                <a:solidFill>
                  <a:schemeClr val="tx2"/>
                </a:solidFill>
                <a:latin typeface="+mn-ea"/>
                <a:cs typeface="阿里巴巴普惠体 M" panose="00020600040101010101" pitchFamily="18" charset="-122"/>
              </a:rPr>
              <a:t>Fresh slice noodle</a:t>
            </a:r>
          </a:p>
        </p:txBody>
      </p:sp>
      <p:sp>
        <p:nvSpPr>
          <p:cNvPr id="22" name="文本框 21">
            <a:extLst>
              <a:ext uri="{FF2B5EF4-FFF2-40B4-BE49-F238E27FC236}">
                <a16:creationId xmlns:a16="http://schemas.microsoft.com/office/drawing/2014/main" id="{CABD6111-9BC5-530E-D59A-2B50932793CE}"/>
              </a:ext>
            </a:extLst>
          </p:cNvPr>
          <p:cNvSpPr txBox="1"/>
          <p:nvPr/>
        </p:nvSpPr>
        <p:spPr>
          <a:xfrm>
            <a:off x="2083949" y="4229161"/>
            <a:ext cx="1817919" cy="468384"/>
          </a:xfrm>
          <a:prstGeom prst="rect">
            <a:avLst/>
          </a:prstGeom>
          <a:noFill/>
        </p:spPr>
        <p:txBody>
          <a:bodyPr wrap="square" lIns="0" tIns="0" rIns="0" bIns="0" rtlCol="0">
            <a:noAutofit/>
          </a:bodyPr>
          <a:lstStyle/>
          <a:p>
            <a:pPr algn="ctr"/>
            <a:r>
              <a:rPr lang="en-US" altLang="zh-CN" sz="1600">
                <a:solidFill>
                  <a:schemeClr val="tx2"/>
                </a:solidFill>
                <a:latin typeface="+mn-ea"/>
                <a:cs typeface="阿里巴巴普惠体 M" panose="00020600040101010101" pitchFamily="18" charset="-122"/>
              </a:rPr>
              <a:t>Vermicelli roll </a:t>
            </a:r>
          </a:p>
        </p:txBody>
      </p:sp>
      <p:sp>
        <p:nvSpPr>
          <p:cNvPr id="23" name="文本框 22">
            <a:extLst>
              <a:ext uri="{FF2B5EF4-FFF2-40B4-BE49-F238E27FC236}">
                <a16:creationId xmlns:a16="http://schemas.microsoft.com/office/drawing/2014/main" id="{88E4816B-E5A2-970F-CFFE-E0AC241BE53D}"/>
              </a:ext>
            </a:extLst>
          </p:cNvPr>
          <p:cNvSpPr txBox="1"/>
          <p:nvPr/>
        </p:nvSpPr>
        <p:spPr>
          <a:xfrm>
            <a:off x="4055359" y="1588977"/>
            <a:ext cx="1817919" cy="468384"/>
          </a:xfrm>
          <a:prstGeom prst="rect">
            <a:avLst/>
          </a:prstGeom>
          <a:noFill/>
        </p:spPr>
        <p:txBody>
          <a:bodyPr wrap="square" lIns="0" tIns="0" rIns="0" bIns="0" rtlCol="0">
            <a:noAutofit/>
          </a:bodyPr>
          <a:lstStyle/>
          <a:p>
            <a:pPr algn="ctr"/>
            <a:r>
              <a:rPr lang="en-US" altLang="zh-CN" sz="1600">
                <a:solidFill>
                  <a:schemeClr val="tx2"/>
                </a:solidFill>
                <a:latin typeface="+mn-ea"/>
                <a:cs typeface="阿里巴巴普惠体 M" panose="00020600040101010101" pitchFamily="18" charset="-122"/>
              </a:rPr>
              <a:t>Steam rice cake</a:t>
            </a:r>
          </a:p>
          <a:p>
            <a:pPr algn="ctr"/>
            <a:r>
              <a:rPr lang="en-US" altLang="zh-CN" sz="1600">
                <a:solidFill>
                  <a:schemeClr val="tx2"/>
                </a:solidFill>
                <a:latin typeface="+mn-ea"/>
                <a:cs typeface="阿里巴巴普惠体 M" panose="00020600040101010101" pitchFamily="18" charset="-122"/>
              </a:rPr>
              <a:t> </a:t>
            </a:r>
          </a:p>
        </p:txBody>
      </p:sp>
      <p:sp>
        <p:nvSpPr>
          <p:cNvPr id="24" name="文本框 23">
            <a:extLst>
              <a:ext uri="{FF2B5EF4-FFF2-40B4-BE49-F238E27FC236}">
                <a16:creationId xmlns:a16="http://schemas.microsoft.com/office/drawing/2014/main" id="{B37C8DA4-47C7-0F25-B33D-697B1ACE1F22}"/>
              </a:ext>
            </a:extLst>
          </p:cNvPr>
          <p:cNvSpPr txBox="1"/>
          <p:nvPr/>
        </p:nvSpPr>
        <p:spPr>
          <a:xfrm>
            <a:off x="4074251" y="4229161"/>
            <a:ext cx="1817919" cy="468384"/>
          </a:xfrm>
          <a:prstGeom prst="rect">
            <a:avLst/>
          </a:prstGeom>
          <a:noFill/>
        </p:spPr>
        <p:txBody>
          <a:bodyPr wrap="square" lIns="0" tIns="0" rIns="0" bIns="0" rtlCol="0">
            <a:noAutofit/>
          </a:bodyPr>
          <a:lstStyle/>
          <a:p>
            <a:pPr algn="ctr"/>
            <a:r>
              <a:rPr lang="en-US" altLang="zh-CN" sz="1600">
                <a:solidFill>
                  <a:schemeClr val="tx2"/>
                </a:solidFill>
                <a:latin typeface="+mn-ea"/>
                <a:cs typeface="阿里巴巴普惠体 M" panose="00020600040101010101" pitchFamily="18" charset="-122"/>
              </a:rPr>
              <a:t>Rice bread</a:t>
            </a:r>
          </a:p>
        </p:txBody>
      </p:sp>
      <p:sp>
        <p:nvSpPr>
          <p:cNvPr id="25" name="文本框 24">
            <a:extLst>
              <a:ext uri="{FF2B5EF4-FFF2-40B4-BE49-F238E27FC236}">
                <a16:creationId xmlns:a16="http://schemas.microsoft.com/office/drawing/2014/main" id="{4EBA7A1D-3A54-97C5-E73F-0938A6AA8348}"/>
              </a:ext>
            </a:extLst>
          </p:cNvPr>
          <p:cNvSpPr txBox="1"/>
          <p:nvPr/>
        </p:nvSpPr>
        <p:spPr>
          <a:xfrm>
            <a:off x="6025890" y="1588977"/>
            <a:ext cx="1817919" cy="468384"/>
          </a:xfrm>
          <a:prstGeom prst="rect">
            <a:avLst/>
          </a:prstGeom>
          <a:noFill/>
        </p:spPr>
        <p:txBody>
          <a:bodyPr wrap="square" lIns="0" tIns="0" rIns="0" bIns="0" rtlCol="0">
            <a:noAutofit/>
          </a:bodyPr>
          <a:lstStyle/>
          <a:p>
            <a:pPr algn="ctr"/>
            <a:r>
              <a:rPr lang="en-US" altLang="zh-CN" sz="1600">
                <a:solidFill>
                  <a:schemeClr val="tx2"/>
                </a:solidFill>
                <a:latin typeface="+mn-ea"/>
                <a:cs typeface="阿里巴巴普惠体 M" panose="00020600040101010101" pitchFamily="18" charset="-122"/>
              </a:rPr>
              <a:t>Sponge cake</a:t>
            </a:r>
          </a:p>
          <a:p>
            <a:pPr algn="ctr"/>
            <a:endParaRPr lang="en-US" altLang="zh-CN" sz="1600">
              <a:solidFill>
                <a:schemeClr val="tx2"/>
              </a:solidFill>
              <a:latin typeface="+mn-ea"/>
              <a:cs typeface="阿里巴巴普惠体 M" panose="00020600040101010101" pitchFamily="18" charset="-122"/>
            </a:endParaRPr>
          </a:p>
        </p:txBody>
      </p:sp>
      <p:sp>
        <p:nvSpPr>
          <p:cNvPr id="26" name="文本框 25">
            <a:extLst>
              <a:ext uri="{FF2B5EF4-FFF2-40B4-BE49-F238E27FC236}">
                <a16:creationId xmlns:a16="http://schemas.microsoft.com/office/drawing/2014/main" id="{04C79631-1A29-0C75-CE2B-60C7C2149B74}"/>
              </a:ext>
            </a:extLst>
          </p:cNvPr>
          <p:cNvSpPr txBox="1"/>
          <p:nvPr/>
        </p:nvSpPr>
        <p:spPr>
          <a:xfrm>
            <a:off x="6024771" y="4210263"/>
            <a:ext cx="1817919" cy="468384"/>
          </a:xfrm>
          <a:prstGeom prst="rect">
            <a:avLst/>
          </a:prstGeom>
          <a:noFill/>
        </p:spPr>
        <p:txBody>
          <a:bodyPr wrap="square" lIns="0" tIns="0" rIns="0" bIns="0" rtlCol="0">
            <a:noAutofit/>
          </a:bodyPr>
          <a:lstStyle/>
          <a:p>
            <a:pPr algn="ctr"/>
            <a:r>
              <a:rPr lang="en-US" altLang="zh-CN" sz="1600">
                <a:solidFill>
                  <a:schemeClr val="tx2"/>
                </a:solidFill>
                <a:latin typeface="+mn-ea"/>
                <a:cs typeface="阿里巴巴普惠体 M" panose="00020600040101010101" pitchFamily="18" charset="-122"/>
              </a:rPr>
              <a:t>Muffin cake</a:t>
            </a:r>
          </a:p>
        </p:txBody>
      </p:sp>
      <p:sp>
        <p:nvSpPr>
          <p:cNvPr id="27" name="文本框 26">
            <a:extLst>
              <a:ext uri="{FF2B5EF4-FFF2-40B4-BE49-F238E27FC236}">
                <a16:creationId xmlns:a16="http://schemas.microsoft.com/office/drawing/2014/main" id="{5987AEA5-A606-9551-DA3C-57702C4E9AC7}"/>
              </a:ext>
            </a:extLst>
          </p:cNvPr>
          <p:cNvSpPr txBox="1"/>
          <p:nvPr/>
        </p:nvSpPr>
        <p:spPr>
          <a:xfrm>
            <a:off x="8010459" y="1615394"/>
            <a:ext cx="1817919" cy="468384"/>
          </a:xfrm>
          <a:prstGeom prst="rect">
            <a:avLst/>
          </a:prstGeom>
          <a:noFill/>
        </p:spPr>
        <p:txBody>
          <a:bodyPr wrap="square" lIns="0" tIns="0" rIns="0" bIns="0" rtlCol="0">
            <a:noAutofit/>
          </a:bodyPr>
          <a:lstStyle/>
          <a:p>
            <a:pPr algn="ctr"/>
            <a:r>
              <a:rPr lang="en-US" altLang="zh-CN" sz="1600">
                <a:solidFill>
                  <a:schemeClr val="tx2"/>
                </a:solidFill>
                <a:latin typeface="+mn-ea"/>
                <a:cs typeface="阿里巴巴普惠体 M" panose="00020600040101010101" pitchFamily="18" charset="-122"/>
              </a:rPr>
              <a:t>Rice cracker</a:t>
            </a:r>
          </a:p>
          <a:p>
            <a:pPr algn="ctr"/>
            <a:endParaRPr lang="en-US" altLang="zh-CN" sz="1600">
              <a:solidFill>
                <a:schemeClr val="tx2"/>
              </a:solidFill>
              <a:latin typeface="+mn-ea"/>
              <a:cs typeface="阿里巴巴普惠体 M" panose="00020600040101010101" pitchFamily="18" charset="-122"/>
            </a:endParaRPr>
          </a:p>
        </p:txBody>
      </p:sp>
      <p:sp>
        <p:nvSpPr>
          <p:cNvPr id="28" name="文本框 27">
            <a:extLst>
              <a:ext uri="{FF2B5EF4-FFF2-40B4-BE49-F238E27FC236}">
                <a16:creationId xmlns:a16="http://schemas.microsoft.com/office/drawing/2014/main" id="{DEE37809-3FCC-AE59-0F44-38C660A45C97}"/>
              </a:ext>
            </a:extLst>
          </p:cNvPr>
          <p:cNvSpPr txBox="1"/>
          <p:nvPr/>
        </p:nvSpPr>
        <p:spPr>
          <a:xfrm>
            <a:off x="8025970" y="4210263"/>
            <a:ext cx="1817919" cy="468384"/>
          </a:xfrm>
          <a:prstGeom prst="rect">
            <a:avLst/>
          </a:prstGeom>
          <a:noFill/>
        </p:spPr>
        <p:txBody>
          <a:bodyPr wrap="square" lIns="0" tIns="0" rIns="0" bIns="0" rtlCol="0">
            <a:noAutofit/>
          </a:bodyPr>
          <a:lstStyle/>
          <a:p>
            <a:pPr algn="ctr"/>
            <a:r>
              <a:rPr lang="en-US" altLang="zh-CN" sz="1600">
                <a:solidFill>
                  <a:schemeClr val="tx2"/>
                </a:solidFill>
                <a:latin typeface="+mn-ea"/>
                <a:cs typeface="阿里巴巴普惠体 M" panose="00020600040101010101" pitchFamily="18" charset="-122"/>
              </a:rPr>
              <a:t>Waffle</a:t>
            </a:r>
          </a:p>
        </p:txBody>
      </p:sp>
      <p:sp>
        <p:nvSpPr>
          <p:cNvPr id="29" name="文本框 28">
            <a:extLst>
              <a:ext uri="{FF2B5EF4-FFF2-40B4-BE49-F238E27FC236}">
                <a16:creationId xmlns:a16="http://schemas.microsoft.com/office/drawing/2014/main" id="{9D5C6190-7577-1F6A-9020-B27E2E39A6DA}"/>
              </a:ext>
            </a:extLst>
          </p:cNvPr>
          <p:cNvSpPr txBox="1"/>
          <p:nvPr/>
        </p:nvSpPr>
        <p:spPr>
          <a:xfrm>
            <a:off x="10043363" y="1615394"/>
            <a:ext cx="1817919" cy="468384"/>
          </a:xfrm>
          <a:prstGeom prst="rect">
            <a:avLst/>
          </a:prstGeom>
          <a:noFill/>
        </p:spPr>
        <p:txBody>
          <a:bodyPr wrap="square" lIns="0" tIns="0" rIns="0" bIns="0" rtlCol="0">
            <a:noAutofit/>
          </a:bodyPr>
          <a:lstStyle/>
          <a:p>
            <a:pPr algn="ctr"/>
            <a:r>
              <a:rPr lang="en-US" altLang="zh-CN" sz="1600">
                <a:solidFill>
                  <a:schemeClr val="tx2"/>
                </a:solidFill>
                <a:latin typeface="+mn-ea"/>
                <a:cs typeface="阿里巴巴普惠体 M" panose="00020600040101010101" pitchFamily="18" charset="-122"/>
              </a:rPr>
              <a:t>Batter</a:t>
            </a:r>
          </a:p>
        </p:txBody>
      </p:sp>
      <p:sp>
        <p:nvSpPr>
          <p:cNvPr id="30" name="文本框 26">
            <a:extLst>
              <a:ext uri="{FF2B5EF4-FFF2-40B4-BE49-F238E27FC236}">
                <a16:creationId xmlns:a16="http://schemas.microsoft.com/office/drawing/2014/main" id="{5987AEA5-A606-9551-DA3C-57702C4E9AC7}"/>
              </a:ext>
            </a:extLst>
          </p:cNvPr>
          <p:cNvSpPr txBox="1"/>
          <p:nvPr/>
        </p:nvSpPr>
        <p:spPr>
          <a:xfrm>
            <a:off x="10093581" y="4218788"/>
            <a:ext cx="1817919" cy="468384"/>
          </a:xfrm>
          <a:prstGeom prst="rect">
            <a:avLst/>
          </a:prstGeom>
          <a:noFill/>
        </p:spPr>
        <p:txBody>
          <a:bodyPr wrap="square" lIns="0" tIns="0" rIns="0" bIns="0" rtlCol="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600">
                <a:solidFill>
                  <a:schemeClr val="tx2"/>
                </a:solidFill>
                <a:latin typeface="+mn-ea"/>
                <a:cs typeface="阿里巴巴普惠体 M" panose="00020600040101010101" pitchFamily="18" charset="-122"/>
              </a:rPr>
              <a:t>Baby food</a:t>
            </a:r>
          </a:p>
        </p:txBody>
      </p:sp>
    </p:spTree>
    <p:extLst>
      <p:ext uri="{BB962C8B-B14F-4D97-AF65-F5344CB8AC3E}">
        <p14:creationId xmlns:p14="http://schemas.microsoft.com/office/powerpoint/2010/main" val="11956392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页脚占位符 1">
            <a:extLst>
              <a:ext uri="{FF2B5EF4-FFF2-40B4-BE49-F238E27FC236}">
                <a16:creationId xmlns:a16="http://schemas.microsoft.com/office/drawing/2014/main" id="{3F244A14-1307-398F-9738-574CE749B4B0}"/>
              </a:ext>
            </a:extLst>
          </p:cNvPr>
          <p:cNvSpPr>
            <a:spLocks noGrp="1"/>
          </p:cNvSpPr>
          <p:nvPr>
            <p:ph type="ftr" sz="quarter" idx="10"/>
          </p:nvPr>
        </p:nvSpPr>
        <p:spPr/>
        <p:txBody>
          <a:bodyPr/>
          <a:lstStyle/>
          <a:p>
            <a:r>
              <a:rPr lang="en-US"/>
              <a:t>Footer of the presentation</a:t>
            </a:r>
          </a:p>
        </p:txBody>
      </p:sp>
      <p:sp>
        <p:nvSpPr>
          <p:cNvPr id="3" name="灯片编号占位符 2">
            <a:extLst>
              <a:ext uri="{FF2B5EF4-FFF2-40B4-BE49-F238E27FC236}">
                <a16:creationId xmlns:a16="http://schemas.microsoft.com/office/drawing/2014/main" id="{E92828DC-B712-27ED-4B19-7B1EB749CB5B}"/>
              </a:ext>
            </a:extLst>
          </p:cNvPr>
          <p:cNvSpPr>
            <a:spLocks noGrp="1"/>
          </p:cNvSpPr>
          <p:nvPr>
            <p:ph type="sldNum" sz="quarter" idx="11"/>
          </p:nvPr>
        </p:nvSpPr>
        <p:spPr/>
        <p:txBody>
          <a:bodyPr/>
          <a:lstStyle/>
          <a:p>
            <a:fld id="{0D1F56E0-B6F6-48D7-9539-F293D99B01ED}" type="slidenum">
              <a:rPr lang="en-US" smtClean="0"/>
              <a:pPr/>
              <a:t>8</a:t>
            </a:fld>
            <a:endParaRPr lang="en-US"/>
          </a:p>
        </p:txBody>
      </p:sp>
      <p:pic>
        <p:nvPicPr>
          <p:cNvPr id="4" name="Grafik 3">
            <a:extLst>
              <a:ext uri="{FF2B5EF4-FFF2-40B4-BE49-F238E27FC236}">
                <a16:creationId xmlns:a16="http://schemas.microsoft.com/office/drawing/2014/main" id="{857D78F9-408E-9924-96F5-18F1FAD5606C}"/>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195213" y="203821"/>
            <a:ext cx="11625411" cy="6478488"/>
          </a:xfrm>
          <a:prstGeom prst="rect">
            <a:avLst/>
          </a:prstGeom>
        </p:spPr>
      </p:pic>
      <p:sp>
        <p:nvSpPr>
          <p:cNvPr id="6" name="Title 1">
            <a:extLst>
              <a:ext uri="{FF2B5EF4-FFF2-40B4-BE49-F238E27FC236}">
                <a16:creationId xmlns:a16="http://schemas.microsoft.com/office/drawing/2014/main" id="{DB256B76-29A6-1217-63DA-41088541DB82}"/>
              </a:ext>
            </a:extLst>
          </p:cNvPr>
          <p:cNvSpPr txBox="1">
            <a:spLocks/>
          </p:cNvSpPr>
          <p:nvPr/>
        </p:nvSpPr>
        <p:spPr>
          <a:xfrm>
            <a:off x="372951" y="296651"/>
            <a:ext cx="11449049" cy="936000"/>
          </a:xfrm>
          <a:prstGeom prst="rect">
            <a:avLst/>
          </a:prstGeom>
        </p:spPr>
        <p:txBody>
          <a:bodyPr/>
          <a:lstStyle>
            <a:lvl1pPr algn="l" defTabSz="914400" rtl="0" eaLnBrk="1" latinLnBrk="0" hangingPunct="1">
              <a:spcBef>
                <a:spcPct val="0"/>
              </a:spcBef>
              <a:buNone/>
              <a:defRPr sz="2800" b="0" kern="1200">
                <a:solidFill>
                  <a:schemeClr val="tx2"/>
                </a:solidFill>
                <a:latin typeface="+mj-lt"/>
                <a:ea typeface="+mj-ea"/>
                <a:cs typeface="Arial" panose="020B0604020202020204" pitchFamily="34" charset="0"/>
              </a:defRPr>
            </a:lvl1pPr>
          </a:lstStyle>
          <a:p>
            <a:r>
              <a:rPr lang="en-US" altLang="zh-CN" dirty="0">
                <a:solidFill>
                  <a:schemeClr val="bg1"/>
                </a:solidFill>
              </a:rPr>
              <a:t>Rice Flour Dry Milling Solution Benefits of Economic and Environment </a:t>
            </a:r>
          </a:p>
        </p:txBody>
      </p:sp>
      <p:graphicFrame>
        <p:nvGraphicFramePr>
          <p:cNvPr id="7" name="表格 2">
            <a:extLst>
              <a:ext uri="{FF2B5EF4-FFF2-40B4-BE49-F238E27FC236}">
                <a16:creationId xmlns:a16="http://schemas.microsoft.com/office/drawing/2014/main" id="{BF4B5A32-9694-2EF1-1814-2111E7C8CC6F}"/>
              </a:ext>
            </a:extLst>
          </p:cNvPr>
          <p:cNvGraphicFramePr>
            <a:graphicFrameLocks noGrp="1"/>
          </p:cNvGraphicFramePr>
          <p:nvPr>
            <p:extLst>
              <p:ext uri="{D42A27DB-BD31-4B8C-83A1-F6EECF244321}">
                <p14:modId xmlns:p14="http://schemas.microsoft.com/office/powerpoint/2010/main" val="1595573846"/>
              </p:ext>
            </p:extLst>
          </p:nvPr>
        </p:nvGraphicFramePr>
        <p:xfrm>
          <a:off x="291842" y="1019637"/>
          <a:ext cx="7434439" cy="3290641"/>
        </p:xfrm>
        <a:graphic>
          <a:graphicData uri="http://schemas.openxmlformats.org/drawingml/2006/table">
            <a:tbl>
              <a:tblPr firstRow="1" firstCol="1" bandRow="1">
                <a:tableStyleId>{21E4AEA4-8DFA-4A89-87EB-49C32662AFE0}</a:tableStyleId>
              </a:tblPr>
              <a:tblGrid>
                <a:gridCol w="1254344">
                  <a:extLst>
                    <a:ext uri="{9D8B030D-6E8A-4147-A177-3AD203B41FA5}">
                      <a16:colId xmlns:a16="http://schemas.microsoft.com/office/drawing/2014/main" val="1599782197"/>
                    </a:ext>
                  </a:extLst>
                </a:gridCol>
                <a:gridCol w="2339559">
                  <a:extLst>
                    <a:ext uri="{9D8B030D-6E8A-4147-A177-3AD203B41FA5}">
                      <a16:colId xmlns:a16="http://schemas.microsoft.com/office/drawing/2014/main" val="4183904321"/>
                    </a:ext>
                  </a:extLst>
                </a:gridCol>
                <a:gridCol w="2286039">
                  <a:extLst>
                    <a:ext uri="{9D8B030D-6E8A-4147-A177-3AD203B41FA5}">
                      <a16:colId xmlns:a16="http://schemas.microsoft.com/office/drawing/2014/main" val="1614440932"/>
                    </a:ext>
                  </a:extLst>
                </a:gridCol>
                <a:gridCol w="1554497">
                  <a:extLst>
                    <a:ext uri="{9D8B030D-6E8A-4147-A177-3AD203B41FA5}">
                      <a16:colId xmlns:a16="http://schemas.microsoft.com/office/drawing/2014/main" val="3210624320"/>
                    </a:ext>
                  </a:extLst>
                </a:gridCol>
              </a:tblGrid>
              <a:tr h="627082">
                <a:tc>
                  <a:txBody>
                    <a:bodyPr/>
                    <a:lstStyle/>
                    <a:p>
                      <a:pPr algn="ctr"/>
                      <a:r>
                        <a:rPr lang="en-US" altLang="zh-CN" sz="1400" b="0" dirty="0">
                          <a:solidFill>
                            <a:schemeClr val="bg1"/>
                          </a:solidFill>
                        </a:rPr>
                        <a:t>Cost </a:t>
                      </a:r>
                    </a:p>
                  </a:txBody>
                  <a:tcPr marL="91416" marR="91416" marT="45708" marB="45708" anchor="ctr">
                    <a:solidFill>
                      <a:schemeClr val="bg2"/>
                    </a:solidFill>
                  </a:tcPr>
                </a:tc>
                <a:tc>
                  <a:txBody>
                    <a:bodyPr/>
                    <a:lstStyle/>
                    <a:p>
                      <a:pPr marL="0" algn="ctr" defTabSz="914400" rtl="0" eaLnBrk="1" latinLnBrk="0" hangingPunct="1"/>
                      <a:r>
                        <a:rPr lang="en-US" altLang="zh-CN" sz="1400" b="0" dirty="0">
                          <a:solidFill>
                            <a:schemeClr val="bg1"/>
                          </a:solidFill>
                          <a:latin typeface="Arial" panose="020B0604020202020204" pitchFamily="34" charset="0"/>
                          <a:ea typeface="黑体" panose="02010609060101010101" pitchFamily="49" charset="-122"/>
                          <a:cs typeface="Arial" panose="020B0604020202020204" pitchFamily="34" charset="0"/>
                        </a:rPr>
                        <a:t>Traditional</a:t>
                      </a:r>
                    </a:p>
                  </a:txBody>
                  <a:tcPr marL="91416" marR="91416" marT="45708" marB="45708" anchor="ctr">
                    <a:solidFill>
                      <a:schemeClr val="bg2"/>
                    </a:solidFill>
                  </a:tcPr>
                </a:tc>
                <a:tc>
                  <a:txBody>
                    <a:bodyPr/>
                    <a:lstStyle/>
                    <a:p>
                      <a:pPr marL="0" algn="ctr" defTabSz="914400" rtl="0" eaLnBrk="1" latinLnBrk="0" hangingPunct="1"/>
                      <a:r>
                        <a:rPr lang="en-US" altLang="zh-CN" sz="1400" b="0" kern="1200" dirty="0">
                          <a:solidFill>
                            <a:schemeClr val="bg1"/>
                          </a:solidFill>
                        </a:rPr>
                        <a:t>Dry Milling</a:t>
                      </a:r>
                    </a:p>
                  </a:txBody>
                  <a:tcPr marL="91416" marR="91416" marT="45708" marB="45708" anchor="ctr">
                    <a:solidFill>
                      <a:schemeClr val="bg2"/>
                    </a:solidFill>
                  </a:tcPr>
                </a:tc>
                <a:tc>
                  <a:txBody>
                    <a:bodyPr/>
                    <a:lstStyle/>
                    <a:p>
                      <a:pPr marL="0" algn="ctr" defTabSz="914400" rtl="0" eaLnBrk="1" latinLnBrk="0" hangingPunct="1"/>
                      <a:r>
                        <a:rPr lang="en-US" altLang="zh-CN" sz="1400" b="0" dirty="0">
                          <a:solidFill>
                            <a:schemeClr val="bg1"/>
                          </a:solidFill>
                          <a:latin typeface="Arial" panose="020B0604020202020204" pitchFamily="34" charset="0"/>
                          <a:ea typeface="黑体" panose="02010609060101010101" pitchFamily="49" charset="-122"/>
                          <a:cs typeface="Arial" panose="020B0604020202020204" pitchFamily="34" charset="0"/>
                        </a:rPr>
                        <a:t>Dry Milling- Traditional</a:t>
                      </a:r>
                    </a:p>
                  </a:txBody>
                  <a:tcPr marL="91416" marR="91416" marT="45708" marB="45708" anchor="ctr">
                    <a:solidFill>
                      <a:schemeClr val="bg2"/>
                    </a:solidFill>
                  </a:tcPr>
                </a:tc>
                <a:extLst>
                  <a:ext uri="{0D108BD9-81ED-4DB2-BD59-A6C34878D82A}">
                    <a16:rowId xmlns:a16="http://schemas.microsoft.com/office/drawing/2014/main" val="321342862"/>
                  </a:ext>
                </a:extLst>
              </a:tr>
              <a:tr h="801678">
                <a:tc>
                  <a:txBody>
                    <a:bodyPr/>
                    <a:lstStyle/>
                    <a:p>
                      <a:pPr algn="ctr"/>
                      <a:r>
                        <a:rPr lang="en-US" altLang="zh-CN" sz="1400" b="0" dirty="0">
                          <a:solidFill>
                            <a:schemeClr val="bg1"/>
                          </a:solidFill>
                        </a:rPr>
                        <a:t>Power Consumption</a:t>
                      </a:r>
                    </a:p>
                  </a:txBody>
                  <a:tcPr marL="91416" marR="91416" marT="45708" marB="45708"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2"/>
                          </a:solidFill>
                          <a:latin typeface="+mn-lt"/>
                          <a:ea typeface="+mn-ea"/>
                          <a:cs typeface="+mn-cs"/>
                        </a:rPr>
                        <a:t>85Kwh/ton</a:t>
                      </a: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b="0" kern="1200" dirty="0">
                          <a:solidFill>
                            <a:schemeClr val="tx2"/>
                          </a:solidFill>
                          <a:latin typeface="+mn-lt"/>
                          <a:ea typeface="+mn-ea"/>
                          <a:cs typeface="+mn-cs"/>
                        </a:rPr>
                        <a:t> </a:t>
                      </a:r>
                      <a:r>
                        <a:rPr lang="en-US" altLang="zh-CN" sz="1400" b="0" kern="1200" dirty="0">
                          <a:solidFill>
                            <a:schemeClr val="tx2"/>
                          </a:solidFill>
                          <a:latin typeface="+mn-lt"/>
                          <a:ea typeface="+mn-ea"/>
                          <a:cs typeface="+mn-cs"/>
                        </a:rPr>
                        <a:t>-68CNY/ton</a:t>
                      </a:r>
                    </a:p>
                  </a:txBody>
                  <a:tcPr marL="91416" marR="91416" marT="45708" marB="4570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2"/>
                          </a:solidFill>
                          <a:latin typeface="+mn-lt"/>
                          <a:ea typeface="+mn-ea"/>
                          <a:cs typeface="+mn-cs"/>
                        </a:rPr>
                        <a:t>88Kwh/t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2"/>
                          </a:solidFill>
                          <a:latin typeface="+mn-lt"/>
                          <a:ea typeface="+mn-ea"/>
                          <a:cs typeface="+mn-cs"/>
                        </a:rPr>
                        <a:t>-70CNY/ton</a:t>
                      </a:r>
                    </a:p>
                  </a:txBody>
                  <a:tcPr marL="91416" marR="91416" marT="45708" marB="4570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2"/>
                          </a:solidFill>
                          <a:latin typeface="+mn-lt"/>
                          <a:ea typeface="+mn-ea"/>
                          <a:cs typeface="+mn-cs"/>
                        </a:rPr>
                        <a:t>-2CNY</a:t>
                      </a:r>
                    </a:p>
                  </a:txBody>
                  <a:tcPr marL="91416" marR="91416" marT="45708" marB="45708" anchor="ctr"/>
                </a:tc>
                <a:extLst>
                  <a:ext uri="{0D108BD9-81ED-4DB2-BD59-A6C34878D82A}">
                    <a16:rowId xmlns:a16="http://schemas.microsoft.com/office/drawing/2014/main" val="2812112875"/>
                  </a:ext>
                </a:extLst>
              </a:tr>
              <a:tr h="918761">
                <a:tc>
                  <a:txBody>
                    <a:bodyPr/>
                    <a:lstStyle/>
                    <a:p>
                      <a:pPr algn="ctr"/>
                      <a:r>
                        <a:rPr lang="en-US" altLang="zh-CN" sz="1400" b="0" dirty="0">
                          <a:solidFill>
                            <a:schemeClr val="bg1"/>
                          </a:solidFill>
                          <a:latin typeface="Arial" panose="020B0604020202020204" pitchFamily="34" charset="0"/>
                          <a:ea typeface="黑体" panose="02010609060101010101" pitchFamily="49" charset="-122"/>
                          <a:cs typeface="Arial" panose="020B0604020202020204" pitchFamily="34" charset="0"/>
                        </a:rPr>
                        <a:t>Water consumption</a:t>
                      </a:r>
                    </a:p>
                  </a:txBody>
                  <a:tcPr marL="91416" marR="91416" marT="45708" marB="45708"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2"/>
                          </a:solidFill>
                          <a:latin typeface="+mn-lt"/>
                          <a:ea typeface="+mn-ea"/>
                          <a:cs typeface="+mn-cs"/>
                        </a:rPr>
                        <a:t>3.75ton/t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2"/>
                          </a:solidFill>
                          <a:latin typeface="+mn-lt"/>
                          <a:ea typeface="+mn-ea"/>
                          <a:cs typeface="+mn-cs"/>
                        </a:rPr>
                        <a:t>-7.5CNY/ton</a:t>
                      </a:r>
                    </a:p>
                  </a:txBody>
                  <a:tcPr marL="91416" marR="91416" marT="45708" marB="4570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2"/>
                          </a:solidFill>
                          <a:latin typeface="+mn-lt"/>
                          <a:ea typeface="+mn-ea"/>
                          <a:cs typeface="+mn-cs"/>
                        </a:rPr>
                        <a:t>0.08ton/t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2"/>
                          </a:solidFill>
                          <a:latin typeface="+mn-lt"/>
                          <a:ea typeface="+mn-ea"/>
                          <a:cs typeface="+mn-cs"/>
                        </a:rPr>
                        <a:t>-0.16CNY/ton</a:t>
                      </a:r>
                    </a:p>
                  </a:txBody>
                  <a:tcPr marL="91416" marR="91416" marT="45708" marB="45708"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2"/>
                          </a:solidFill>
                          <a:latin typeface="+mn-lt"/>
                          <a:ea typeface="+mn-ea"/>
                          <a:cs typeface="+mn-cs"/>
                        </a:rPr>
                        <a:t>7.34CNY</a:t>
                      </a:r>
                    </a:p>
                  </a:txBody>
                  <a:tcPr marL="91416" marR="91416" marT="45708" marB="45708" anchor="ctr"/>
                </a:tc>
                <a:extLst>
                  <a:ext uri="{0D108BD9-81ED-4DB2-BD59-A6C34878D82A}">
                    <a16:rowId xmlns:a16="http://schemas.microsoft.com/office/drawing/2014/main" val="2043860256"/>
                  </a:ext>
                </a:extLst>
              </a:tr>
              <a:tr h="471560">
                <a:tc>
                  <a:txBody>
                    <a:bodyPr/>
                    <a:lstStyle/>
                    <a:p>
                      <a:pPr algn="ctr"/>
                      <a:r>
                        <a:rPr lang="en-US" altLang="zh-CN" sz="1400" b="0" dirty="0">
                          <a:solidFill>
                            <a:schemeClr val="bg1"/>
                          </a:solidFill>
                          <a:latin typeface="Arial" panose="020B0604020202020204" pitchFamily="34" charset="0"/>
                          <a:ea typeface="黑体" panose="02010609060101010101" pitchFamily="49" charset="-122"/>
                          <a:cs typeface="Arial" panose="020B0604020202020204" pitchFamily="34" charset="0"/>
                        </a:rPr>
                        <a:t>Yield </a:t>
                      </a:r>
                    </a:p>
                  </a:txBody>
                  <a:tcPr marL="91416" marR="91416" marT="45708" marB="45708" anchor="ctr">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2"/>
                          </a:solidFill>
                          <a:latin typeface="+mn-lt"/>
                          <a:ea typeface="+mn-ea"/>
                          <a:cs typeface="+mn-cs"/>
                        </a:rPr>
                        <a:t>97% , 3880CNY</a:t>
                      </a:r>
                    </a:p>
                  </a:txBody>
                  <a:tcPr marL="91416" marR="91416" marT="45708" marB="45708" anchor="ctr">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2"/>
                          </a:solidFill>
                          <a:latin typeface="+mn-lt"/>
                          <a:ea typeface="+mn-ea"/>
                          <a:cs typeface="+mn-cs"/>
                        </a:rPr>
                        <a:t>102%,</a:t>
                      </a:r>
                      <a:r>
                        <a:rPr lang="zh-CN" altLang="en-US" sz="1400" b="0" kern="1200" dirty="0">
                          <a:solidFill>
                            <a:schemeClr val="tx2"/>
                          </a:solidFill>
                          <a:latin typeface="+mn-lt"/>
                          <a:ea typeface="+mn-ea"/>
                          <a:cs typeface="+mn-cs"/>
                        </a:rPr>
                        <a:t> </a:t>
                      </a:r>
                      <a:r>
                        <a:rPr lang="en-US" altLang="zh-CN" sz="1400" b="0" kern="1200" dirty="0">
                          <a:solidFill>
                            <a:schemeClr val="tx2"/>
                          </a:solidFill>
                          <a:latin typeface="+mn-lt"/>
                          <a:ea typeface="+mn-ea"/>
                          <a:cs typeface="+mn-cs"/>
                        </a:rPr>
                        <a:t>4080CNY</a:t>
                      </a:r>
                    </a:p>
                  </a:txBody>
                  <a:tcPr marL="91416" marR="91416" marT="45708" marB="45708" anchor="ctr">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tx2"/>
                          </a:solidFill>
                          <a:latin typeface="+mn-lt"/>
                          <a:ea typeface="+mn-ea"/>
                          <a:cs typeface="+mn-cs"/>
                        </a:rPr>
                        <a:t>5% ~  200CNY</a:t>
                      </a:r>
                    </a:p>
                  </a:txBody>
                  <a:tcPr marL="91416" marR="91416" marT="45708" marB="45708" anchor="ctr">
                    <a:solidFill>
                      <a:srgbClr val="92D050"/>
                    </a:solidFill>
                  </a:tcPr>
                </a:tc>
                <a:extLst>
                  <a:ext uri="{0D108BD9-81ED-4DB2-BD59-A6C34878D82A}">
                    <a16:rowId xmlns:a16="http://schemas.microsoft.com/office/drawing/2014/main" val="3739865912"/>
                  </a:ext>
                </a:extLst>
              </a:tr>
              <a:tr h="471560">
                <a:tc>
                  <a:txBody>
                    <a:bodyPr/>
                    <a:lstStyle/>
                    <a:p>
                      <a:pPr algn="ctr"/>
                      <a:r>
                        <a:rPr lang="en-US" altLang="zh-CN" sz="1400" b="0" dirty="0">
                          <a:solidFill>
                            <a:schemeClr val="bg1"/>
                          </a:solidFill>
                          <a:latin typeface="Arial" panose="020B0604020202020204" pitchFamily="34" charset="0"/>
                          <a:ea typeface="黑体" panose="02010609060101010101" pitchFamily="49" charset="-122"/>
                          <a:cs typeface="Arial" panose="020B0604020202020204" pitchFamily="34" charset="0"/>
                        </a:rPr>
                        <a:t>Sum </a:t>
                      </a:r>
                    </a:p>
                  </a:txBody>
                  <a:tcPr marL="91416" marR="91416" marT="45708" marB="45708" anchor="ctr">
                    <a:solidFill>
                      <a:schemeClr val="accent1">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bg1"/>
                          </a:solidFill>
                          <a:latin typeface="+mn-lt"/>
                          <a:ea typeface="+mn-ea"/>
                          <a:cs typeface="+mn-cs"/>
                        </a:rPr>
                        <a:t>3804CNY</a:t>
                      </a:r>
                    </a:p>
                  </a:txBody>
                  <a:tcPr marL="91416" marR="91416" marT="45708" marB="45708" anchor="ctr">
                    <a:solidFill>
                      <a:schemeClr val="accent1">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bg1"/>
                          </a:solidFill>
                          <a:latin typeface="+mn-lt"/>
                          <a:ea typeface="+mn-ea"/>
                          <a:cs typeface="+mn-cs"/>
                        </a:rPr>
                        <a:t>4010CNY</a:t>
                      </a:r>
                    </a:p>
                  </a:txBody>
                  <a:tcPr marL="91416" marR="91416" marT="45708" marB="45708" anchor="ctr">
                    <a:solidFill>
                      <a:schemeClr val="accent1">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0" kern="1200" dirty="0">
                          <a:solidFill>
                            <a:schemeClr val="bg1"/>
                          </a:solidFill>
                          <a:latin typeface="+mn-lt"/>
                          <a:ea typeface="+mn-ea"/>
                          <a:cs typeface="+mn-cs"/>
                        </a:rPr>
                        <a:t>206CNY</a:t>
                      </a:r>
                    </a:p>
                  </a:txBody>
                  <a:tcPr marL="91416" marR="91416" marT="45708" marB="45708" anchor="ctr">
                    <a:solidFill>
                      <a:schemeClr val="accent1">
                        <a:lumMod val="50000"/>
                      </a:schemeClr>
                    </a:solidFill>
                  </a:tcPr>
                </a:tc>
                <a:extLst>
                  <a:ext uri="{0D108BD9-81ED-4DB2-BD59-A6C34878D82A}">
                    <a16:rowId xmlns:a16="http://schemas.microsoft.com/office/drawing/2014/main" val="3705938199"/>
                  </a:ext>
                </a:extLst>
              </a:tr>
            </a:tbl>
          </a:graphicData>
        </a:graphic>
      </p:graphicFrame>
      <p:pic>
        <p:nvPicPr>
          <p:cNvPr id="8" name="Picture 4">
            <a:extLst>
              <a:ext uri="{FF2B5EF4-FFF2-40B4-BE49-F238E27FC236}">
                <a16:creationId xmlns:a16="http://schemas.microsoft.com/office/drawing/2014/main" id="{E6EFEC8C-B73C-14C7-AB53-45393A33B00C}"/>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3810" r="3020"/>
          <a:stretch/>
        </p:blipFill>
        <p:spPr bwMode="auto">
          <a:xfrm>
            <a:off x="7726281" y="1019639"/>
            <a:ext cx="4094342" cy="2409361"/>
          </a:xfrm>
          <a:prstGeom prst="rect">
            <a:avLst/>
          </a:prstGeom>
          <a:noFill/>
          <a:extLst>
            <a:ext uri="{909E8E84-426E-40DD-AFC4-6F175D3DCCD1}">
              <a14:hiddenFill xmlns:a14="http://schemas.microsoft.com/office/drawing/2010/main">
                <a:solidFill>
                  <a:srgbClr val="FFFFFF"/>
                </a:solidFill>
              </a14:hiddenFill>
            </a:ext>
          </a:extLst>
        </p:spPr>
      </p:pic>
      <p:sp>
        <p:nvSpPr>
          <p:cNvPr id="9" name="文本框 8">
            <a:extLst>
              <a:ext uri="{FF2B5EF4-FFF2-40B4-BE49-F238E27FC236}">
                <a16:creationId xmlns:a16="http://schemas.microsoft.com/office/drawing/2014/main" id="{1783BCC6-30F9-6385-15A6-75DFE7B7DF3F}"/>
              </a:ext>
            </a:extLst>
          </p:cNvPr>
          <p:cNvSpPr txBox="1"/>
          <p:nvPr/>
        </p:nvSpPr>
        <p:spPr>
          <a:xfrm>
            <a:off x="7727654" y="3359831"/>
            <a:ext cx="4092969" cy="954107"/>
          </a:xfrm>
          <a:prstGeom prst="rect">
            <a:avLst/>
          </a:prstGeom>
          <a:solidFill>
            <a:srgbClr val="00B050"/>
          </a:solidFill>
        </p:spPr>
        <p:txBody>
          <a:bodyPr wrap="square">
            <a:spAutoFit/>
          </a:bodyPr>
          <a:lstStyle/>
          <a:p>
            <a:pPr marL="171450" indent="-171450">
              <a:buFont typeface="Arial" panose="020B0604020202020204" pitchFamily="34" charset="0"/>
              <a:buChar char="•"/>
            </a:pPr>
            <a:r>
              <a:rPr lang="en-US" altLang="zh-CN" sz="1400" dirty="0">
                <a:solidFill>
                  <a:schemeClr val="bg1"/>
                </a:solidFill>
              </a:rPr>
              <a:t>Assumption: 10t/h</a:t>
            </a:r>
            <a:r>
              <a:rPr lang="zh-CN" altLang="en-US" sz="1400" dirty="0">
                <a:solidFill>
                  <a:schemeClr val="bg1"/>
                </a:solidFill>
              </a:rPr>
              <a:t>，</a:t>
            </a:r>
            <a:r>
              <a:rPr lang="en-US" altLang="zh-CN" sz="1400" dirty="0">
                <a:solidFill>
                  <a:schemeClr val="bg1"/>
                </a:solidFill>
              </a:rPr>
              <a:t>Working time :10h/d</a:t>
            </a:r>
            <a:r>
              <a:rPr lang="zh-CN" altLang="en-US" sz="1400" dirty="0">
                <a:solidFill>
                  <a:schemeClr val="bg1"/>
                </a:solidFill>
              </a:rPr>
              <a:t>，</a:t>
            </a:r>
            <a:r>
              <a:rPr lang="en-US" altLang="zh-CN" sz="1400" dirty="0">
                <a:solidFill>
                  <a:schemeClr val="bg1"/>
                </a:solidFill>
              </a:rPr>
              <a:t>Rice flour Price 4000CNY/ton;</a:t>
            </a:r>
          </a:p>
          <a:p>
            <a:pPr marL="171450" indent="-171450">
              <a:buFont typeface="Arial" panose="020B0604020202020204" pitchFamily="34" charset="0"/>
              <a:buChar char="•"/>
            </a:pPr>
            <a:r>
              <a:rPr lang="en-US" altLang="zh-CN" sz="1400" dirty="0">
                <a:solidFill>
                  <a:schemeClr val="bg1"/>
                </a:solidFill>
              </a:rPr>
              <a:t>Raw moisture 12.5%, rice flour moisture 13.5%</a:t>
            </a:r>
          </a:p>
          <a:p>
            <a:pPr marL="171450" indent="-171450">
              <a:buFont typeface="Arial" panose="020B0604020202020204" pitchFamily="34" charset="0"/>
              <a:buChar char="•"/>
            </a:pPr>
            <a:r>
              <a:rPr lang="en-US" altLang="zh-CN" sz="1400" dirty="0">
                <a:solidFill>
                  <a:schemeClr val="bg1"/>
                </a:solidFill>
              </a:rPr>
              <a:t>Didn’t taking waste treatment cost into consider.</a:t>
            </a:r>
          </a:p>
        </p:txBody>
      </p:sp>
      <p:sp>
        <p:nvSpPr>
          <p:cNvPr id="10" name="Träne 15">
            <a:extLst>
              <a:ext uri="{FF2B5EF4-FFF2-40B4-BE49-F238E27FC236}">
                <a16:creationId xmlns:a16="http://schemas.microsoft.com/office/drawing/2014/main" id="{750E1709-418B-6C8D-5EA9-DDC577FEF4CA}"/>
              </a:ext>
            </a:extLst>
          </p:cNvPr>
          <p:cNvSpPr>
            <a:spLocks noChangeAspect="1"/>
          </p:cNvSpPr>
          <p:nvPr/>
        </p:nvSpPr>
        <p:spPr>
          <a:xfrm rot="10800000" flipV="1">
            <a:off x="4638842" y="4375529"/>
            <a:ext cx="2160946" cy="2160946"/>
          </a:xfrm>
          <a:prstGeom prst="teardrop">
            <a:avLst/>
          </a:prstGeom>
          <a:solidFill>
            <a:schemeClr val="tx1">
              <a:lumMod val="50000"/>
              <a:lumOff val="50000"/>
              <a:alpha val="69804"/>
            </a:schemeClr>
          </a:solidFill>
          <a:ln>
            <a:noFill/>
          </a:ln>
          <a:effectLst/>
          <a:scene3d>
            <a:camera prst="orthographicFront">
              <a:rot lat="0" lon="10800000" rev="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1" name="Träne 15">
            <a:extLst>
              <a:ext uri="{FF2B5EF4-FFF2-40B4-BE49-F238E27FC236}">
                <a16:creationId xmlns:a16="http://schemas.microsoft.com/office/drawing/2014/main" id="{3B61E866-826A-9301-CD76-0EF75ABF8E76}"/>
              </a:ext>
            </a:extLst>
          </p:cNvPr>
          <p:cNvSpPr>
            <a:spLocks noChangeAspect="1"/>
          </p:cNvSpPr>
          <p:nvPr/>
        </p:nvSpPr>
        <p:spPr>
          <a:xfrm rot="10800000" flipV="1">
            <a:off x="871013" y="4400403"/>
            <a:ext cx="2160946" cy="2160946"/>
          </a:xfrm>
          <a:prstGeom prst="teardrop">
            <a:avLst/>
          </a:prstGeom>
          <a:solidFill>
            <a:schemeClr val="bg2">
              <a:lumMod val="60000"/>
              <a:lumOff val="40000"/>
              <a:alpha val="69804"/>
            </a:schemeClr>
          </a:solidFill>
          <a:ln>
            <a:noFill/>
          </a:ln>
          <a:effectLst/>
          <a:scene3d>
            <a:camera prst="orthographicFront">
              <a:rot lat="0" lon="10800000" rev="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2" name="Träne 18">
            <a:extLst>
              <a:ext uri="{FF2B5EF4-FFF2-40B4-BE49-F238E27FC236}">
                <a16:creationId xmlns:a16="http://schemas.microsoft.com/office/drawing/2014/main" id="{F89C79ED-0048-88EE-197F-08FD7464A8EE}"/>
              </a:ext>
            </a:extLst>
          </p:cNvPr>
          <p:cNvSpPr>
            <a:spLocks noChangeAspect="1"/>
          </p:cNvSpPr>
          <p:nvPr/>
        </p:nvSpPr>
        <p:spPr>
          <a:xfrm rot="10800000" flipV="1">
            <a:off x="8582512" y="4371241"/>
            <a:ext cx="2160946" cy="2160946"/>
          </a:xfrm>
          <a:prstGeom prst="teardrop">
            <a:avLst/>
          </a:prstGeom>
          <a:solidFill>
            <a:schemeClr val="accent6">
              <a:lumMod val="75000"/>
              <a:alpha val="69804"/>
            </a:schemeClr>
          </a:solidFill>
          <a:ln>
            <a:noFill/>
          </a:ln>
          <a:effectLst/>
          <a:scene3d>
            <a:camera prst="orthographicFront">
              <a:rot lat="0" lon="10800000" rev="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3" name="Rechteck 16">
            <a:extLst>
              <a:ext uri="{FF2B5EF4-FFF2-40B4-BE49-F238E27FC236}">
                <a16:creationId xmlns:a16="http://schemas.microsoft.com/office/drawing/2014/main" id="{4E231A0C-0D56-7E98-2F3A-F260A12E3D16}"/>
              </a:ext>
            </a:extLst>
          </p:cNvPr>
          <p:cNvSpPr/>
          <p:nvPr/>
        </p:nvSpPr>
        <p:spPr>
          <a:xfrm>
            <a:off x="5015030" y="4649612"/>
            <a:ext cx="1499128" cy="584775"/>
          </a:xfrm>
          <a:prstGeom prst="rect">
            <a:avLst/>
          </a:prstGeom>
        </p:spPr>
        <p:txBody>
          <a:bodyPr wrap="none">
            <a:spAutoFit/>
          </a:bodyPr>
          <a:lstStyle/>
          <a:p>
            <a:pPr algn="ctr"/>
            <a:r>
              <a:rPr lang="en-US" sz="3200" b="1" dirty="0">
                <a:solidFill>
                  <a:prstClr val="white"/>
                </a:solidFill>
              </a:rPr>
              <a:t>WASTE</a:t>
            </a:r>
          </a:p>
        </p:txBody>
      </p:sp>
      <p:sp>
        <p:nvSpPr>
          <p:cNvPr id="14" name="Rechteck 19">
            <a:extLst>
              <a:ext uri="{FF2B5EF4-FFF2-40B4-BE49-F238E27FC236}">
                <a16:creationId xmlns:a16="http://schemas.microsoft.com/office/drawing/2014/main" id="{AF6410E6-D24E-925F-278A-8EAF1776B1B7}"/>
              </a:ext>
            </a:extLst>
          </p:cNvPr>
          <p:cNvSpPr/>
          <p:nvPr/>
        </p:nvSpPr>
        <p:spPr>
          <a:xfrm>
            <a:off x="1322654" y="4649612"/>
            <a:ext cx="1489895" cy="584775"/>
          </a:xfrm>
          <a:prstGeom prst="rect">
            <a:avLst/>
          </a:prstGeom>
        </p:spPr>
        <p:txBody>
          <a:bodyPr wrap="none">
            <a:spAutoFit/>
          </a:bodyPr>
          <a:lstStyle/>
          <a:p>
            <a:pPr algn="ctr"/>
            <a:r>
              <a:rPr lang="en-US" sz="3200" b="1" dirty="0">
                <a:solidFill>
                  <a:prstClr val="white"/>
                </a:solidFill>
              </a:rPr>
              <a:t>WATER</a:t>
            </a:r>
          </a:p>
        </p:txBody>
      </p:sp>
      <p:sp>
        <p:nvSpPr>
          <p:cNvPr id="15" name="Rechteck 20">
            <a:extLst>
              <a:ext uri="{FF2B5EF4-FFF2-40B4-BE49-F238E27FC236}">
                <a16:creationId xmlns:a16="http://schemas.microsoft.com/office/drawing/2014/main" id="{056F23C0-CC51-D0AE-1330-924F661F6894}"/>
              </a:ext>
            </a:extLst>
          </p:cNvPr>
          <p:cNvSpPr/>
          <p:nvPr/>
        </p:nvSpPr>
        <p:spPr>
          <a:xfrm>
            <a:off x="8870171" y="4633879"/>
            <a:ext cx="1738168" cy="584775"/>
          </a:xfrm>
          <a:prstGeom prst="rect">
            <a:avLst/>
          </a:prstGeom>
        </p:spPr>
        <p:txBody>
          <a:bodyPr wrap="none">
            <a:spAutoFit/>
          </a:bodyPr>
          <a:lstStyle/>
          <a:p>
            <a:pPr algn="ctr"/>
            <a:r>
              <a:rPr lang="en-US" sz="3200" b="1" dirty="0">
                <a:solidFill>
                  <a:prstClr val="white"/>
                </a:solidFill>
              </a:rPr>
              <a:t>ENERGY</a:t>
            </a:r>
          </a:p>
        </p:txBody>
      </p:sp>
      <p:sp>
        <p:nvSpPr>
          <p:cNvPr id="17" name="文本框 16">
            <a:extLst>
              <a:ext uri="{FF2B5EF4-FFF2-40B4-BE49-F238E27FC236}">
                <a16:creationId xmlns:a16="http://schemas.microsoft.com/office/drawing/2014/main" id="{55977274-73A3-A816-11C5-433E63426B3A}"/>
              </a:ext>
            </a:extLst>
          </p:cNvPr>
          <p:cNvSpPr txBox="1"/>
          <p:nvPr/>
        </p:nvSpPr>
        <p:spPr>
          <a:xfrm>
            <a:off x="954741" y="5034630"/>
            <a:ext cx="1993490"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40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 </a:t>
            </a:r>
            <a:r>
              <a:rPr lang="en-US" altLang="zh-CN" sz="4000" b="1" dirty="0">
                <a:solidFill>
                  <a:schemeClr val="tx2"/>
                </a:solidFill>
                <a:latin typeface="Arial" panose="020B0604020202020204" pitchFamily="34" charset="0"/>
                <a:cs typeface="Arial" panose="020B0604020202020204" pitchFamily="34" charset="0"/>
              </a:rPr>
              <a:t>98</a:t>
            </a:r>
            <a:r>
              <a:rPr kumimoji="0" lang="en-US" altLang="zh-CN" sz="40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Due to without soaking</a:t>
            </a:r>
          </a:p>
        </p:txBody>
      </p:sp>
      <p:sp>
        <p:nvSpPr>
          <p:cNvPr id="19" name="文本框 18">
            <a:extLst>
              <a:ext uri="{FF2B5EF4-FFF2-40B4-BE49-F238E27FC236}">
                <a16:creationId xmlns:a16="http://schemas.microsoft.com/office/drawing/2014/main" id="{EE171267-291B-84F7-534F-FAA6B2E1F535}"/>
              </a:ext>
            </a:extLst>
          </p:cNvPr>
          <p:cNvSpPr txBox="1"/>
          <p:nvPr/>
        </p:nvSpPr>
        <p:spPr>
          <a:xfrm>
            <a:off x="4678588" y="5034629"/>
            <a:ext cx="2121888"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40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 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Due to high flour yield</a:t>
            </a:r>
          </a:p>
        </p:txBody>
      </p:sp>
      <p:sp>
        <p:nvSpPr>
          <p:cNvPr id="20" name="TextBox 5">
            <a:extLst>
              <a:ext uri="{FF2B5EF4-FFF2-40B4-BE49-F238E27FC236}">
                <a16:creationId xmlns:a16="http://schemas.microsoft.com/office/drawing/2014/main" id="{908F87E5-C106-E6B2-C66C-50F71F20489B}"/>
              </a:ext>
            </a:extLst>
          </p:cNvPr>
          <p:cNvSpPr txBox="1"/>
          <p:nvPr/>
        </p:nvSpPr>
        <p:spPr>
          <a:xfrm>
            <a:off x="8765462" y="5247407"/>
            <a:ext cx="1903424" cy="7694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b="1" dirty="0">
                <a:solidFill>
                  <a:schemeClr val="tx2"/>
                </a:solidFill>
                <a:latin typeface="Arial" panose="020B0604020202020204" pitchFamily="34" charset="0"/>
                <a:cs typeface="Arial" panose="020B0604020202020204" pitchFamily="34" charset="0"/>
              </a:rPr>
              <a:t>Align with wet pro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Due to without drying</a:t>
            </a:r>
          </a:p>
        </p:txBody>
      </p:sp>
    </p:spTree>
    <p:extLst>
      <p:ext uri="{BB962C8B-B14F-4D97-AF65-F5344CB8AC3E}">
        <p14:creationId xmlns:p14="http://schemas.microsoft.com/office/powerpoint/2010/main" val="12092517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The Reliable Equipment are the Foundation</a:t>
            </a:r>
            <a:br>
              <a:rPr lang="en-US" altLang="zh-CN" dirty="0"/>
            </a:br>
            <a:r>
              <a:rPr lang="en-US" altLang="zh-CN" dirty="0"/>
              <a:t>Enable Stable/ Reliable/ Food Safety/ Global Available</a:t>
            </a:r>
            <a:br>
              <a:rPr lang="en-US" altLang="zh-CN" dirty="0"/>
            </a:br>
            <a:endParaRPr lang="en-US" dirty="0"/>
          </a:p>
        </p:txBody>
      </p:sp>
      <p:sp>
        <p:nvSpPr>
          <p:cNvPr id="4" name="Footer Placeholder 3"/>
          <p:cNvSpPr>
            <a:spLocks noGrp="1"/>
          </p:cNvSpPr>
          <p:nvPr>
            <p:ph type="ftr" sz="quarter" idx="10"/>
          </p:nvPr>
        </p:nvSpPr>
        <p:spPr/>
        <p:txBody>
          <a:bodyPr/>
          <a:lstStyle/>
          <a:p>
            <a:r>
              <a:rPr lang="en-US"/>
              <a:t>Buhler Rice FLour Dry Milling Solution |  Buhler GF-Food</a:t>
            </a:r>
          </a:p>
        </p:txBody>
      </p:sp>
      <p:pic>
        <p:nvPicPr>
          <p:cNvPr id="15" name="Picture 12" descr="qualitat"/>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351649" y="711161"/>
            <a:ext cx="1133001" cy="1042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6" name="组合 55">
            <a:extLst>
              <a:ext uri="{FF2B5EF4-FFF2-40B4-BE49-F238E27FC236}">
                <a16:creationId xmlns:a16="http://schemas.microsoft.com/office/drawing/2014/main" id="{D76A9EE5-5E23-DD7C-54F6-D80B6D7C44A2}"/>
              </a:ext>
            </a:extLst>
          </p:cNvPr>
          <p:cNvGrpSpPr/>
          <p:nvPr/>
        </p:nvGrpSpPr>
        <p:grpSpPr>
          <a:xfrm>
            <a:off x="4208807" y="1927403"/>
            <a:ext cx="2381224" cy="2098255"/>
            <a:chOff x="6782068" y="4324821"/>
            <a:chExt cx="2266437" cy="2287576"/>
          </a:xfrm>
        </p:grpSpPr>
        <p:pic>
          <p:nvPicPr>
            <p:cNvPr id="24" name="图片 23">
              <a:extLst>
                <a:ext uri="{FF2B5EF4-FFF2-40B4-BE49-F238E27FC236}">
                  <a16:creationId xmlns:a16="http://schemas.microsoft.com/office/drawing/2014/main" id="{721E376F-CF1B-077F-5D75-B0F93D46CD4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32955" t="21087" r="33893" b="8991"/>
            <a:stretch/>
          </p:blipFill>
          <p:spPr>
            <a:xfrm>
              <a:off x="7051480" y="4324821"/>
              <a:ext cx="1406166" cy="2096797"/>
            </a:xfrm>
            <a:prstGeom prst="rect">
              <a:avLst/>
            </a:prstGeom>
          </p:spPr>
        </p:pic>
        <p:sp>
          <p:nvSpPr>
            <p:cNvPr id="26" name="文本框 25">
              <a:extLst>
                <a:ext uri="{FF2B5EF4-FFF2-40B4-BE49-F238E27FC236}">
                  <a16:creationId xmlns:a16="http://schemas.microsoft.com/office/drawing/2014/main" id="{CD12533E-D3BA-0E03-C3E4-D63592AF3C4D}"/>
                </a:ext>
              </a:extLst>
            </p:cNvPr>
            <p:cNvSpPr txBox="1"/>
            <p:nvPr/>
          </p:nvSpPr>
          <p:spPr>
            <a:xfrm>
              <a:off x="6782068" y="6304620"/>
              <a:ext cx="2266437" cy="307777"/>
            </a:xfrm>
            <a:prstGeom prst="rect">
              <a:avLst/>
            </a:prstGeom>
            <a:noFill/>
          </p:spPr>
          <p:txBody>
            <a:bodyPr wrap="square">
              <a:spAutoFit/>
            </a:bodyPr>
            <a:lstStyle/>
            <a:p>
              <a:pPr algn="l"/>
              <a:r>
                <a:rPr lang="en-US" altLang="zh-CN" sz="1400" b="1" i="0" dirty="0">
                  <a:solidFill>
                    <a:srgbClr val="325A6E"/>
                  </a:solidFill>
                  <a:effectLst/>
                  <a:latin typeface="Neue Helvetica W01"/>
                </a:rPr>
                <a:t>Moisture measuring device</a:t>
              </a:r>
            </a:p>
          </p:txBody>
        </p:sp>
      </p:grpSp>
      <p:grpSp>
        <p:nvGrpSpPr>
          <p:cNvPr id="58" name="组合 57">
            <a:extLst>
              <a:ext uri="{FF2B5EF4-FFF2-40B4-BE49-F238E27FC236}">
                <a16:creationId xmlns:a16="http://schemas.microsoft.com/office/drawing/2014/main" id="{593074E1-B63F-86F0-2295-EEC47E03496E}"/>
              </a:ext>
            </a:extLst>
          </p:cNvPr>
          <p:cNvGrpSpPr/>
          <p:nvPr/>
        </p:nvGrpSpPr>
        <p:grpSpPr>
          <a:xfrm>
            <a:off x="6461056" y="4364443"/>
            <a:ext cx="1591617" cy="1845355"/>
            <a:chOff x="2845991" y="4444940"/>
            <a:chExt cx="1591617" cy="1845355"/>
          </a:xfrm>
        </p:grpSpPr>
        <p:pic>
          <p:nvPicPr>
            <p:cNvPr id="20" name="图片 19" descr="图片包含 桌子, 游戏机, 男人, 站&#10;&#10;描述已自动生成">
              <a:extLst>
                <a:ext uri="{FF2B5EF4-FFF2-40B4-BE49-F238E27FC236}">
                  <a16:creationId xmlns:a16="http://schemas.microsoft.com/office/drawing/2014/main" id="{25F81F0B-F059-6FB3-44C6-5A264FB6B10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45991" y="4444940"/>
              <a:ext cx="1591617" cy="1591617"/>
            </a:xfrm>
            <a:prstGeom prst="rect">
              <a:avLst/>
            </a:prstGeom>
          </p:spPr>
        </p:pic>
        <p:sp>
          <p:nvSpPr>
            <p:cNvPr id="27" name="文本框 26">
              <a:extLst>
                <a:ext uri="{FF2B5EF4-FFF2-40B4-BE49-F238E27FC236}">
                  <a16:creationId xmlns:a16="http://schemas.microsoft.com/office/drawing/2014/main" id="{B24D19C9-1315-D75B-5480-8705A7E73ADF}"/>
                </a:ext>
              </a:extLst>
            </p:cNvPr>
            <p:cNvSpPr txBox="1"/>
            <p:nvPr/>
          </p:nvSpPr>
          <p:spPr>
            <a:xfrm>
              <a:off x="3247692" y="5982518"/>
              <a:ext cx="1072182" cy="307777"/>
            </a:xfrm>
            <a:prstGeom prst="rect">
              <a:avLst/>
            </a:prstGeom>
            <a:noFill/>
          </p:spPr>
          <p:txBody>
            <a:bodyPr wrap="square">
              <a:spAutoFit/>
            </a:bodyPr>
            <a:lstStyle/>
            <a:p>
              <a:pPr algn="l"/>
              <a:r>
                <a:rPr lang="en-US" altLang="zh-CN" sz="1400" b="1" i="0" dirty="0" err="1">
                  <a:solidFill>
                    <a:srgbClr val="325A6E"/>
                  </a:solidFill>
                  <a:effectLst/>
                  <a:latin typeface="Neue Helvetica W01"/>
                </a:rPr>
                <a:t>Pulverizer</a:t>
              </a:r>
              <a:endParaRPr lang="en-US" altLang="zh-CN" sz="1400" b="1" i="0" dirty="0">
                <a:solidFill>
                  <a:srgbClr val="325A6E"/>
                </a:solidFill>
                <a:effectLst/>
                <a:latin typeface="Neue Helvetica W01"/>
              </a:endParaRPr>
            </a:p>
          </p:txBody>
        </p:sp>
      </p:grpSp>
      <p:grpSp>
        <p:nvGrpSpPr>
          <p:cNvPr id="57" name="组合 56">
            <a:extLst>
              <a:ext uri="{FF2B5EF4-FFF2-40B4-BE49-F238E27FC236}">
                <a16:creationId xmlns:a16="http://schemas.microsoft.com/office/drawing/2014/main" id="{036E6869-82EB-A2CE-E481-2498A966D3D9}"/>
              </a:ext>
            </a:extLst>
          </p:cNvPr>
          <p:cNvGrpSpPr/>
          <p:nvPr/>
        </p:nvGrpSpPr>
        <p:grpSpPr>
          <a:xfrm>
            <a:off x="2054108" y="4533037"/>
            <a:ext cx="2012145" cy="1639811"/>
            <a:chOff x="4681363" y="4726556"/>
            <a:chExt cx="2012145" cy="1639811"/>
          </a:xfrm>
        </p:grpSpPr>
        <p:pic>
          <p:nvPicPr>
            <p:cNvPr id="28" name="图片 27">
              <a:extLst>
                <a:ext uri="{FF2B5EF4-FFF2-40B4-BE49-F238E27FC236}">
                  <a16:creationId xmlns:a16="http://schemas.microsoft.com/office/drawing/2014/main" id="{A6199F46-D034-2F0B-6C7D-250F3B70A7A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681363" y="4726556"/>
              <a:ext cx="2012145" cy="1294964"/>
            </a:xfrm>
            <a:prstGeom prst="rect">
              <a:avLst/>
            </a:prstGeom>
          </p:spPr>
        </p:pic>
        <p:sp>
          <p:nvSpPr>
            <p:cNvPr id="30" name="文本框 29">
              <a:extLst>
                <a:ext uri="{FF2B5EF4-FFF2-40B4-BE49-F238E27FC236}">
                  <a16:creationId xmlns:a16="http://schemas.microsoft.com/office/drawing/2014/main" id="{95CF204D-7834-1E81-8A49-DC3E17BBC49F}"/>
                </a:ext>
              </a:extLst>
            </p:cNvPr>
            <p:cNvSpPr txBox="1"/>
            <p:nvPr/>
          </p:nvSpPr>
          <p:spPr>
            <a:xfrm>
              <a:off x="5303172" y="6058590"/>
              <a:ext cx="1072182" cy="307777"/>
            </a:xfrm>
            <a:prstGeom prst="rect">
              <a:avLst/>
            </a:prstGeom>
            <a:noFill/>
          </p:spPr>
          <p:txBody>
            <a:bodyPr wrap="square">
              <a:spAutoFit/>
            </a:bodyPr>
            <a:lstStyle/>
            <a:p>
              <a:pPr algn="l"/>
              <a:r>
                <a:rPr lang="en-US" altLang="zh-CN" sz="1400" b="1" i="0" dirty="0">
                  <a:solidFill>
                    <a:srgbClr val="325A6E"/>
                  </a:solidFill>
                  <a:effectLst/>
                  <a:latin typeface="Neue Helvetica W01"/>
                </a:rPr>
                <a:t>Purifier</a:t>
              </a:r>
            </a:p>
          </p:txBody>
        </p:sp>
      </p:grpSp>
      <p:grpSp>
        <p:nvGrpSpPr>
          <p:cNvPr id="53" name="组合 52">
            <a:extLst>
              <a:ext uri="{FF2B5EF4-FFF2-40B4-BE49-F238E27FC236}">
                <a16:creationId xmlns:a16="http://schemas.microsoft.com/office/drawing/2014/main" id="{5C233835-97C5-46F2-0C43-F92CD94FC855}"/>
              </a:ext>
            </a:extLst>
          </p:cNvPr>
          <p:cNvGrpSpPr/>
          <p:nvPr/>
        </p:nvGrpSpPr>
        <p:grpSpPr>
          <a:xfrm>
            <a:off x="8426292" y="4387609"/>
            <a:ext cx="1543547" cy="1806622"/>
            <a:chOff x="6577208" y="2424111"/>
            <a:chExt cx="1543547" cy="1806622"/>
          </a:xfrm>
        </p:grpSpPr>
        <p:pic>
          <p:nvPicPr>
            <p:cNvPr id="6" name="图片 2"/>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6577208" y="2424111"/>
              <a:ext cx="1354703" cy="1538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文本框 30">
              <a:extLst>
                <a:ext uri="{FF2B5EF4-FFF2-40B4-BE49-F238E27FC236}">
                  <a16:creationId xmlns:a16="http://schemas.microsoft.com/office/drawing/2014/main" id="{DFEFF1F1-6D63-0BD9-DDA8-FA0C20AD29FA}"/>
                </a:ext>
              </a:extLst>
            </p:cNvPr>
            <p:cNvSpPr txBox="1"/>
            <p:nvPr/>
          </p:nvSpPr>
          <p:spPr>
            <a:xfrm>
              <a:off x="6606906" y="3922956"/>
              <a:ext cx="1513849" cy="307777"/>
            </a:xfrm>
            <a:prstGeom prst="rect">
              <a:avLst/>
            </a:prstGeom>
            <a:noFill/>
          </p:spPr>
          <p:txBody>
            <a:bodyPr wrap="square">
              <a:spAutoFit/>
            </a:bodyPr>
            <a:lstStyle/>
            <a:p>
              <a:pPr algn="l"/>
              <a:r>
                <a:rPr lang="en-US" altLang="zh-CN" sz="1400" b="1" i="0" dirty="0">
                  <a:solidFill>
                    <a:srgbClr val="325A6E"/>
                  </a:solidFill>
                  <a:effectLst/>
                  <a:latin typeface="Neue Helvetica W01"/>
                </a:rPr>
                <a:t>Impact Machine</a:t>
              </a:r>
            </a:p>
          </p:txBody>
        </p:sp>
      </p:grpSp>
      <p:grpSp>
        <p:nvGrpSpPr>
          <p:cNvPr id="54" name="组合 53">
            <a:extLst>
              <a:ext uri="{FF2B5EF4-FFF2-40B4-BE49-F238E27FC236}">
                <a16:creationId xmlns:a16="http://schemas.microsoft.com/office/drawing/2014/main" id="{629F2A4E-74D7-19BE-460B-784B14214ECF}"/>
              </a:ext>
            </a:extLst>
          </p:cNvPr>
          <p:cNvGrpSpPr/>
          <p:nvPr/>
        </p:nvGrpSpPr>
        <p:grpSpPr>
          <a:xfrm>
            <a:off x="10102924" y="4602566"/>
            <a:ext cx="1617668" cy="1579442"/>
            <a:chOff x="9809572" y="2700901"/>
            <a:chExt cx="1617668" cy="1579442"/>
          </a:xfrm>
        </p:grpSpPr>
        <p:pic>
          <p:nvPicPr>
            <p:cNvPr id="32" name="图片 31">
              <a:extLst>
                <a:ext uri="{FF2B5EF4-FFF2-40B4-BE49-F238E27FC236}">
                  <a16:creationId xmlns:a16="http://schemas.microsoft.com/office/drawing/2014/main" id="{6F0A8D89-6C91-7421-6211-ED89F807AC6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09572" y="2700901"/>
              <a:ext cx="1617668" cy="1225435"/>
            </a:xfrm>
            <a:prstGeom prst="rect">
              <a:avLst/>
            </a:prstGeom>
          </p:spPr>
        </p:pic>
        <p:sp>
          <p:nvSpPr>
            <p:cNvPr id="33" name="文本框 32">
              <a:extLst>
                <a:ext uri="{FF2B5EF4-FFF2-40B4-BE49-F238E27FC236}">
                  <a16:creationId xmlns:a16="http://schemas.microsoft.com/office/drawing/2014/main" id="{C629FDDC-D553-F2E9-FA08-3259B1AAE282}"/>
                </a:ext>
              </a:extLst>
            </p:cNvPr>
            <p:cNvSpPr txBox="1"/>
            <p:nvPr/>
          </p:nvSpPr>
          <p:spPr>
            <a:xfrm>
              <a:off x="10191298" y="3972566"/>
              <a:ext cx="1072182" cy="307777"/>
            </a:xfrm>
            <a:prstGeom prst="rect">
              <a:avLst/>
            </a:prstGeom>
            <a:noFill/>
          </p:spPr>
          <p:txBody>
            <a:bodyPr wrap="square">
              <a:spAutoFit/>
            </a:bodyPr>
            <a:lstStyle/>
            <a:p>
              <a:pPr algn="l"/>
              <a:r>
                <a:rPr lang="en-US" altLang="zh-CN" sz="1400" b="1" i="0" dirty="0">
                  <a:solidFill>
                    <a:srgbClr val="325A6E"/>
                  </a:solidFill>
                  <a:effectLst/>
                  <a:latin typeface="Neue Helvetica W01"/>
                </a:rPr>
                <a:t>Mixture</a:t>
              </a:r>
            </a:p>
          </p:txBody>
        </p:sp>
      </p:grpSp>
      <p:grpSp>
        <p:nvGrpSpPr>
          <p:cNvPr id="52" name="组合 51">
            <a:extLst>
              <a:ext uri="{FF2B5EF4-FFF2-40B4-BE49-F238E27FC236}">
                <a16:creationId xmlns:a16="http://schemas.microsoft.com/office/drawing/2014/main" id="{06C616FA-57DF-8D15-0EBE-0691F3BC00A6}"/>
              </a:ext>
            </a:extLst>
          </p:cNvPr>
          <p:cNvGrpSpPr/>
          <p:nvPr/>
        </p:nvGrpSpPr>
        <p:grpSpPr>
          <a:xfrm>
            <a:off x="292031" y="4533037"/>
            <a:ext cx="1643231" cy="1659378"/>
            <a:chOff x="4521295" y="2617050"/>
            <a:chExt cx="1643231" cy="1659378"/>
          </a:xfrm>
        </p:grpSpPr>
        <p:pic>
          <p:nvPicPr>
            <p:cNvPr id="22" name="图片 24">
              <a:extLst>
                <a:ext uri="{FF2B5EF4-FFF2-40B4-BE49-F238E27FC236}">
                  <a16:creationId xmlns:a16="http://schemas.microsoft.com/office/drawing/2014/main" id="{59CE1F03-CA7F-4211-A0B6-4F6F95C4BB2B}"/>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521295" y="2617050"/>
              <a:ext cx="1643231" cy="1294964"/>
            </a:xfrm>
            <a:prstGeom prst="rect">
              <a:avLst/>
            </a:prstGeom>
          </p:spPr>
        </p:pic>
        <p:sp>
          <p:nvSpPr>
            <p:cNvPr id="35" name="文本框 34">
              <a:extLst>
                <a:ext uri="{FF2B5EF4-FFF2-40B4-BE49-F238E27FC236}">
                  <a16:creationId xmlns:a16="http://schemas.microsoft.com/office/drawing/2014/main" id="{6AC05F50-68FF-DCA9-24B0-000DFB159128}"/>
                </a:ext>
              </a:extLst>
            </p:cNvPr>
            <p:cNvSpPr txBox="1"/>
            <p:nvPr/>
          </p:nvSpPr>
          <p:spPr>
            <a:xfrm>
              <a:off x="4867607" y="3968651"/>
              <a:ext cx="1072182" cy="307777"/>
            </a:xfrm>
            <a:prstGeom prst="rect">
              <a:avLst/>
            </a:prstGeom>
            <a:noFill/>
          </p:spPr>
          <p:txBody>
            <a:bodyPr wrap="square">
              <a:spAutoFit/>
            </a:bodyPr>
            <a:lstStyle/>
            <a:p>
              <a:pPr algn="l"/>
              <a:r>
                <a:rPr lang="en-US" altLang="zh-CN" sz="1400" b="1" i="0" dirty="0">
                  <a:solidFill>
                    <a:srgbClr val="325A6E"/>
                  </a:solidFill>
                  <a:effectLst/>
                  <a:latin typeface="Neue Helvetica W01"/>
                </a:rPr>
                <a:t>Roller Mill</a:t>
              </a:r>
            </a:p>
          </p:txBody>
        </p:sp>
      </p:grpSp>
      <p:grpSp>
        <p:nvGrpSpPr>
          <p:cNvPr id="50" name="组合 49">
            <a:extLst>
              <a:ext uri="{FF2B5EF4-FFF2-40B4-BE49-F238E27FC236}">
                <a16:creationId xmlns:a16="http://schemas.microsoft.com/office/drawing/2014/main" id="{096BC7CF-A722-E503-6CE1-312F55086840}"/>
              </a:ext>
            </a:extLst>
          </p:cNvPr>
          <p:cNvGrpSpPr/>
          <p:nvPr/>
        </p:nvGrpSpPr>
        <p:grpSpPr>
          <a:xfrm>
            <a:off x="2169460" y="2241095"/>
            <a:ext cx="1939668" cy="1780360"/>
            <a:chOff x="454632" y="2729776"/>
            <a:chExt cx="1939668" cy="1780360"/>
          </a:xfrm>
        </p:grpSpPr>
        <p:pic>
          <p:nvPicPr>
            <p:cNvPr id="9" name="图片 10"/>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54632" y="2729776"/>
              <a:ext cx="1939668" cy="134131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文本框 36">
              <a:extLst>
                <a:ext uri="{FF2B5EF4-FFF2-40B4-BE49-F238E27FC236}">
                  <a16:creationId xmlns:a16="http://schemas.microsoft.com/office/drawing/2014/main" id="{99CC6F3A-D96C-984F-E4B2-8C7812830EB1}"/>
                </a:ext>
              </a:extLst>
            </p:cNvPr>
            <p:cNvSpPr txBox="1"/>
            <p:nvPr/>
          </p:nvSpPr>
          <p:spPr>
            <a:xfrm>
              <a:off x="875309" y="4202359"/>
              <a:ext cx="1072182" cy="307777"/>
            </a:xfrm>
            <a:prstGeom prst="rect">
              <a:avLst/>
            </a:prstGeom>
            <a:noFill/>
          </p:spPr>
          <p:txBody>
            <a:bodyPr wrap="square">
              <a:spAutoFit/>
            </a:bodyPr>
            <a:lstStyle/>
            <a:p>
              <a:pPr algn="l"/>
              <a:r>
                <a:rPr lang="en-US" altLang="zh-CN" sz="1400" b="1" i="0" dirty="0">
                  <a:solidFill>
                    <a:srgbClr val="325A6E"/>
                  </a:solidFill>
                  <a:effectLst/>
                  <a:latin typeface="Neue Helvetica W01"/>
                </a:rPr>
                <a:t>Color</a:t>
              </a:r>
              <a:r>
                <a:rPr lang="zh-CN" altLang="en-US" sz="1400" b="1" i="0" dirty="0">
                  <a:solidFill>
                    <a:srgbClr val="325A6E"/>
                  </a:solidFill>
                  <a:effectLst/>
                  <a:latin typeface="Neue Helvetica W01"/>
                </a:rPr>
                <a:t> </a:t>
              </a:r>
              <a:r>
                <a:rPr lang="en-US" altLang="zh-CN" sz="1400" b="1" i="0" dirty="0">
                  <a:solidFill>
                    <a:srgbClr val="325A6E"/>
                  </a:solidFill>
                  <a:effectLst/>
                  <a:latin typeface="Neue Helvetica W01"/>
                </a:rPr>
                <a:t>Sorter</a:t>
              </a:r>
            </a:p>
          </p:txBody>
        </p:sp>
      </p:grpSp>
      <p:grpSp>
        <p:nvGrpSpPr>
          <p:cNvPr id="51" name="组合 50">
            <a:extLst>
              <a:ext uri="{FF2B5EF4-FFF2-40B4-BE49-F238E27FC236}">
                <a16:creationId xmlns:a16="http://schemas.microsoft.com/office/drawing/2014/main" id="{48C42698-A3BE-9586-923C-B70CB0CB3C53}"/>
              </a:ext>
            </a:extLst>
          </p:cNvPr>
          <p:cNvGrpSpPr/>
          <p:nvPr/>
        </p:nvGrpSpPr>
        <p:grpSpPr>
          <a:xfrm>
            <a:off x="4330065" y="4166807"/>
            <a:ext cx="1789253" cy="2027424"/>
            <a:chOff x="2414966" y="2121828"/>
            <a:chExt cx="1789253" cy="2027424"/>
          </a:xfrm>
        </p:grpSpPr>
        <p:pic>
          <p:nvPicPr>
            <p:cNvPr id="38" name="图片 37">
              <a:extLst>
                <a:ext uri="{FF2B5EF4-FFF2-40B4-BE49-F238E27FC236}">
                  <a16:creationId xmlns:a16="http://schemas.microsoft.com/office/drawing/2014/main" id="{D49C39E7-846C-37E5-8EAA-3E989693BF0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414966" y="2121828"/>
              <a:ext cx="1789253" cy="1789253"/>
            </a:xfrm>
            <a:prstGeom prst="rect">
              <a:avLst/>
            </a:prstGeom>
          </p:spPr>
        </p:pic>
        <p:sp>
          <p:nvSpPr>
            <p:cNvPr id="39" name="文本框 38">
              <a:extLst>
                <a:ext uri="{FF2B5EF4-FFF2-40B4-BE49-F238E27FC236}">
                  <a16:creationId xmlns:a16="http://schemas.microsoft.com/office/drawing/2014/main" id="{E73670F0-8A8B-DEB5-3DC1-7CB1DF300C49}"/>
                </a:ext>
              </a:extLst>
            </p:cNvPr>
            <p:cNvSpPr txBox="1"/>
            <p:nvPr/>
          </p:nvSpPr>
          <p:spPr>
            <a:xfrm>
              <a:off x="2735688" y="3841475"/>
              <a:ext cx="1072182" cy="307777"/>
            </a:xfrm>
            <a:prstGeom prst="rect">
              <a:avLst/>
            </a:prstGeom>
            <a:noFill/>
          </p:spPr>
          <p:txBody>
            <a:bodyPr wrap="square">
              <a:spAutoFit/>
            </a:bodyPr>
            <a:lstStyle/>
            <a:p>
              <a:pPr algn="l"/>
              <a:r>
                <a:rPr lang="en-US" altLang="zh-CN" sz="1400" b="1" dirty="0">
                  <a:solidFill>
                    <a:srgbClr val="325A6E"/>
                  </a:solidFill>
                  <a:latin typeface="Neue Helvetica W01"/>
                </a:rPr>
                <a:t>Plansifter</a:t>
              </a:r>
              <a:endParaRPr lang="en-US" altLang="zh-CN" sz="1400" b="1" i="0" dirty="0">
                <a:solidFill>
                  <a:srgbClr val="325A6E"/>
                </a:solidFill>
                <a:effectLst/>
                <a:latin typeface="Neue Helvetica W01"/>
              </a:endParaRPr>
            </a:p>
          </p:txBody>
        </p:sp>
      </p:grpSp>
      <p:grpSp>
        <p:nvGrpSpPr>
          <p:cNvPr id="48" name="组合 47">
            <a:extLst>
              <a:ext uri="{FF2B5EF4-FFF2-40B4-BE49-F238E27FC236}">
                <a16:creationId xmlns:a16="http://schemas.microsoft.com/office/drawing/2014/main" id="{8D9E221C-9826-C3D9-B80F-617753833A98}"/>
              </a:ext>
            </a:extLst>
          </p:cNvPr>
          <p:cNvGrpSpPr/>
          <p:nvPr/>
        </p:nvGrpSpPr>
        <p:grpSpPr>
          <a:xfrm>
            <a:off x="8280614" y="2007976"/>
            <a:ext cx="2077572" cy="2046020"/>
            <a:chOff x="5220230" y="375538"/>
            <a:chExt cx="2077572" cy="2046020"/>
          </a:xfrm>
        </p:grpSpPr>
        <p:pic>
          <p:nvPicPr>
            <p:cNvPr id="40" name="图片 39">
              <a:extLst>
                <a:ext uri="{FF2B5EF4-FFF2-40B4-BE49-F238E27FC236}">
                  <a16:creationId xmlns:a16="http://schemas.microsoft.com/office/drawing/2014/main" id="{FB23733A-7BA6-D177-7CA4-59519C494CB3}"/>
                </a:ext>
              </a:extLst>
            </p:cNvPr>
            <p:cNvPicPr>
              <a:picLocks noChangeAspect="1"/>
            </p:cNvPicPr>
            <p:nvPr/>
          </p:nvPicPr>
          <p:blipFill>
            <a:blip r:embed="rId12"/>
            <a:stretch>
              <a:fillRect/>
            </a:stretch>
          </p:blipFill>
          <p:spPr>
            <a:xfrm>
              <a:off x="5220230" y="375538"/>
              <a:ext cx="2077572" cy="1872634"/>
            </a:xfrm>
            <a:prstGeom prst="rect">
              <a:avLst/>
            </a:prstGeom>
          </p:spPr>
        </p:pic>
        <p:sp>
          <p:nvSpPr>
            <p:cNvPr id="42" name="文本框 41">
              <a:extLst>
                <a:ext uri="{FF2B5EF4-FFF2-40B4-BE49-F238E27FC236}">
                  <a16:creationId xmlns:a16="http://schemas.microsoft.com/office/drawing/2014/main" id="{DC4EA406-D4BD-1A06-F47B-A2D27E759ED5}"/>
                </a:ext>
              </a:extLst>
            </p:cNvPr>
            <p:cNvSpPr txBox="1"/>
            <p:nvPr/>
          </p:nvSpPr>
          <p:spPr>
            <a:xfrm>
              <a:off x="5785497" y="2113781"/>
              <a:ext cx="1072182" cy="307777"/>
            </a:xfrm>
            <a:prstGeom prst="rect">
              <a:avLst/>
            </a:prstGeom>
            <a:noFill/>
          </p:spPr>
          <p:txBody>
            <a:bodyPr wrap="square">
              <a:spAutoFit/>
            </a:bodyPr>
            <a:lstStyle/>
            <a:p>
              <a:pPr algn="l"/>
              <a:r>
                <a:rPr lang="en-US" altLang="zh-CN" sz="1400" b="1" i="0" dirty="0">
                  <a:solidFill>
                    <a:srgbClr val="325A6E"/>
                  </a:solidFill>
                  <a:effectLst/>
                  <a:latin typeface="Neue Helvetica W01"/>
                </a:rPr>
                <a:t>Scourer</a:t>
              </a:r>
            </a:p>
          </p:txBody>
        </p:sp>
      </p:grpSp>
      <p:grpSp>
        <p:nvGrpSpPr>
          <p:cNvPr id="49" name="组合 48">
            <a:extLst>
              <a:ext uri="{FF2B5EF4-FFF2-40B4-BE49-F238E27FC236}">
                <a16:creationId xmlns:a16="http://schemas.microsoft.com/office/drawing/2014/main" id="{8C462C9C-4439-0966-3128-70DC47F21511}"/>
              </a:ext>
            </a:extLst>
          </p:cNvPr>
          <p:cNvGrpSpPr/>
          <p:nvPr/>
        </p:nvGrpSpPr>
        <p:grpSpPr>
          <a:xfrm>
            <a:off x="389424" y="2066329"/>
            <a:ext cx="1545838" cy="1950234"/>
            <a:chOff x="-144886" y="1480015"/>
            <a:chExt cx="1545838" cy="1950234"/>
          </a:xfrm>
        </p:grpSpPr>
        <p:pic>
          <p:nvPicPr>
            <p:cNvPr id="41" name="图片 40">
              <a:extLst>
                <a:ext uri="{FF2B5EF4-FFF2-40B4-BE49-F238E27FC236}">
                  <a16:creationId xmlns:a16="http://schemas.microsoft.com/office/drawing/2014/main" id="{F0FDC509-C2AC-58FB-22AF-DA3F7AAE7ACD}"/>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44886" y="1480015"/>
              <a:ext cx="1545838" cy="1545838"/>
            </a:xfrm>
            <a:prstGeom prst="rect">
              <a:avLst/>
            </a:prstGeom>
          </p:spPr>
        </p:pic>
        <p:sp>
          <p:nvSpPr>
            <p:cNvPr id="43" name="文本框 42">
              <a:extLst>
                <a:ext uri="{FF2B5EF4-FFF2-40B4-BE49-F238E27FC236}">
                  <a16:creationId xmlns:a16="http://schemas.microsoft.com/office/drawing/2014/main" id="{F8D6A2E2-827A-8C95-F70B-3B2137B33589}"/>
                </a:ext>
              </a:extLst>
            </p:cNvPr>
            <p:cNvSpPr txBox="1"/>
            <p:nvPr/>
          </p:nvSpPr>
          <p:spPr>
            <a:xfrm>
              <a:off x="226407" y="3122472"/>
              <a:ext cx="1072182" cy="307777"/>
            </a:xfrm>
            <a:prstGeom prst="rect">
              <a:avLst/>
            </a:prstGeom>
            <a:noFill/>
          </p:spPr>
          <p:txBody>
            <a:bodyPr wrap="square">
              <a:spAutoFit/>
            </a:bodyPr>
            <a:lstStyle/>
            <a:p>
              <a:pPr algn="l"/>
              <a:r>
                <a:rPr lang="en-US" altLang="zh-CN" sz="1400" b="1" dirty="0">
                  <a:solidFill>
                    <a:srgbClr val="325A6E"/>
                  </a:solidFill>
                  <a:latin typeface="Neue Helvetica W01"/>
                </a:rPr>
                <a:t>Destoner</a:t>
              </a:r>
              <a:endParaRPr lang="en-US" altLang="zh-CN" sz="1400" b="1" i="0" dirty="0">
                <a:solidFill>
                  <a:srgbClr val="325A6E"/>
                </a:solidFill>
                <a:effectLst/>
                <a:latin typeface="Neue Helvetica W01"/>
              </a:endParaRPr>
            </a:p>
          </p:txBody>
        </p:sp>
      </p:grpSp>
      <p:grpSp>
        <p:nvGrpSpPr>
          <p:cNvPr id="55" name="组合 54">
            <a:extLst>
              <a:ext uri="{FF2B5EF4-FFF2-40B4-BE49-F238E27FC236}">
                <a16:creationId xmlns:a16="http://schemas.microsoft.com/office/drawing/2014/main" id="{E1E4A5B6-86D1-19CE-65EA-4C5FFFD00548}"/>
              </a:ext>
            </a:extLst>
          </p:cNvPr>
          <p:cNvGrpSpPr/>
          <p:nvPr/>
        </p:nvGrpSpPr>
        <p:grpSpPr>
          <a:xfrm>
            <a:off x="6506753" y="2111345"/>
            <a:ext cx="1882279" cy="1946898"/>
            <a:chOff x="9004231" y="4432999"/>
            <a:chExt cx="1882279" cy="1946898"/>
          </a:xfrm>
        </p:grpSpPr>
        <p:pic>
          <p:nvPicPr>
            <p:cNvPr id="1026" name="Picture 2">
              <a:extLst>
                <a:ext uri="{FF2B5EF4-FFF2-40B4-BE49-F238E27FC236}">
                  <a16:creationId xmlns:a16="http://schemas.microsoft.com/office/drawing/2014/main" id="{7B486242-4336-E75E-2A0A-32818483EEA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032731" y="4432999"/>
              <a:ext cx="1645682" cy="1645682"/>
            </a:xfrm>
            <a:prstGeom prst="rect">
              <a:avLst/>
            </a:prstGeom>
            <a:noFill/>
            <a:extLst>
              <a:ext uri="{909E8E84-426E-40DD-AFC4-6F175D3DCCD1}">
                <a14:hiddenFill xmlns:a14="http://schemas.microsoft.com/office/drawing/2010/main">
                  <a:solidFill>
                    <a:srgbClr val="FFFFFF"/>
                  </a:solidFill>
                </a14:hiddenFill>
              </a:ext>
            </a:extLst>
          </p:spPr>
        </p:pic>
        <p:sp>
          <p:nvSpPr>
            <p:cNvPr id="45" name="文本框 44">
              <a:extLst>
                <a:ext uri="{FF2B5EF4-FFF2-40B4-BE49-F238E27FC236}">
                  <a16:creationId xmlns:a16="http://schemas.microsoft.com/office/drawing/2014/main" id="{1352923A-8BD8-80FC-CC8E-F752F79C8036}"/>
                </a:ext>
              </a:extLst>
            </p:cNvPr>
            <p:cNvSpPr txBox="1"/>
            <p:nvPr/>
          </p:nvSpPr>
          <p:spPr>
            <a:xfrm>
              <a:off x="9004231" y="6072120"/>
              <a:ext cx="1882279" cy="307777"/>
            </a:xfrm>
            <a:prstGeom prst="rect">
              <a:avLst/>
            </a:prstGeom>
            <a:noFill/>
          </p:spPr>
          <p:txBody>
            <a:bodyPr wrap="square">
              <a:spAutoFit/>
            </a:bodyPr>
            <a:lstStyle/>
            <a:p>
              <a:pPr algn="l"/>
              <a:r>
                <a:rPr lang="en-US" altLang="zh-CN" sz="1400" b="1" i="0" dirty="0">
                  <a:solidFill>
                    <a:srgbClr val="325A6E"/>
                  </a:solidFill>
                  <a:effectLst/>
                  <a:latin typeface="Neue Helvetica W01"/>
                </a:rPr>
                <a:t>Liquids flow controller</a:t>
              </a:r>
            </a:p>
          </p:txBody>
        </p:sp>
      </p:grpSp>
      <p:grpSp>
        <p:nvGrpSpPr>
          <p:cNvPr id="59" name="组合 58">
            <a:extLst>
              <a:ext uri="{FF2B5EF4-FFF2-40B4-BE49-F238E27FC236}">
                <a16:creationId xmlns:a16="http://schemas.microsoft.com/office/drawing/2014/main" id="{2FBA5183-CC3E-DCA2-B8E1-12B585713707}"/>
              </a:ext>
            </a:extLst>
          </p:cNvPr>
          <p:cNvGrpSpPr/>
          <p:nvPr/>
        </p:nvGrpSpPr>
        <p:grpSpPr>
          <a:xfrm>
            <a:off x="10234867" y="2295970"/>
            <a:ext cx="1795192" cy="1720593"/>
            <a:chOff x="7549267" y="652320"/>
            <a:chExt cx="1795192" cy="1720593"/>
          </a:xfrm>
        </p:grpSpPr>
        <p:pic>
          <p:nvPicPr>
            <p:cNvPr id="46" name="图片 45">
              <a:extLst>
                <a:ext uri="{FF2B5EF4-FFF2-40B4-BE49-F238E27FC236}">
                  <a16:creationId xmlns:a16="http://schemas.microsoft.com/office/drawing/2014/main" id="{4E61A69A-20A6-1873-5C45-4EC54824102E}"/>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549267" y="652320"/>
              <a:ext cx="1354704" cy="1296646"/>
            </a:xfrm>
            <a:prstGeom prst="rect">
              <a:avLst/>
            </a:prstGeom>
          </p:spPr>
        </p:pic>
        <p:sp>
          <p:nvSpPr>
            <p:cNvPr id="47" name="文本框 46">
              <a:extLst>
                <a:ext uri="{FF2B5EF4-FFF2-40B4-BE49-F238E27FC236}">
                  <a16:creationId xmlns:a16="http://schemas.microsoft.com/office/drawing/2014/main" id="{56E743F3-48C8-2995-51AC-42C756A197F3}"/>
                </a:ext>
              </a:extLst>
            </p:cNvPr>
            <p:cNvSpPr txBox="1"/>
            <p:nvPr/>
          </p:nvSpPr>
          <p:spPr>
            <a:xfrm>
              <a:off x="7637902" y="2065136"/>
              <a:ext cx="1706557" cy="307777"/>
            </a:xfrm>
            <a:prstGeom prst="rect">
              <a:avLst/>
            </a:prstGeom>
            <a:noFill/>
          </p:spPr>
          <p:txBody>
            <a:bodyPr wrap="square">
              <a:spAutoFit/>
            </a:bodyPr>
            <a:lstStyle/>
            <a:p>
              <a:pPr algn="l"/>
              <a:r>
                <a:rPr lang="en-US" altLang="zh-CN" sz="1400" b="1" i="0" dirty="0">
                  <a:solidFill>
                    <a:srgbClr val="325A6E"/>
                  </a:solidFill>
                  <a:effectLst/>
                  <a:latin typeface="Neue Helvetica W01"/>
                </a:rPr>
                <a:t>Flow Balancer</a:t>
              </a:r>
            </a:p>
          </p:txBody>
        </p:sp>
      </p:grpSp>
    </p:spTree>
    <p:extLst>
      <p:ext uri="{BB962C8B-B14F-4D97-AF65-F5344CB8AC3E}">
        <p14:creationId xmlns:p14="http://schemas.microsoft.com/office/powerpoint/2010/main" val="39544993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NGUAGE" val="english"/>
</p:tagLst>
</file>

<file path=ppt/tags/tag2.xml><?xml version="1.0" encoding="utf-8"?>
<p:tagLst xmlns:a="http://schemas.openxmlformats.org/drawingml/2006/main" xmlns:r="http://schemas.openxmlformats.org/officeDocument/2006/relationships" xmlns:p="http://schemas.openxmlformats.org/presentationml/2006/main">
  <p:tag name="TWNOCDCHECK" val="-1"/>
</p:tagLst>
</file>

<file path=ppt/tags/tag3.xml><?xml version="1.0" encoding="utf-8"?>
<p:tagLst xmlns:a="http://schemas.openxmlformats.org/drawingml/2006/main" xmlns:r="http://schemas.openxmlformats.org/officeDocument/2006/relationships" xmlns:p="http://schemas.openxmlformats.org/presentationml/2006/main">
  <p:tag name="TWNOCDCHECK"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ühler">
  <a:themeElements>
    <a:clrScheme name="Bühler">
      <a:dk1>
        <a:srgbClr val="00324B"/>
      </a:dk1>
      <a:lt1>
        <a:sysClr val="window" lastClr="FFFFFF"/>
      </a:lt1>
      <a:dk2>
        <a:srgbClr val="00324B"/>
      </a:dk2>
      <a:lt2>
        <a:srgbClr val="009B91"/>
      </a:lt2>
      <a:accent1>
        <a:srgbClr val="AAD2B4"/>
      </a:accent1>
      <a:accent2>
        <a:srgbClr val="64C3C8"/>
      </a:accent2>
      <a:accent3>
        <a:srgbClr val="005578"/>
      </a:accent3>
      <a:accent4>
        <a:srgbClr val="87C8F0"/>
      </a:accent4>
      <a:accent5>
        <a:srgbClr val="FF9B32"/>
      </a:accent5>
      <a:accent6>
        <a:srgbClr val="E6E100"/>
      </a:accent6>
      <a:hlink>
        <a:srgbClr val="009B91"/>
      </a:hlink>
      <a:folHlink>
        <a:srgbClr val="64C3C8"/>
      </a:folHlink>
    </a:clrScheme>
    <a:fontScheme name="Bühler">
      <a:majorFont>
        <a:latin typeface="Arial Nova Light"/>
        <a:ea typeface=""/>
        <a:cs typeface=""/>
      </a:majorFont>
      <a:minorFont>
        <a:latin typeface="Arial Nova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lIns="72000" tIns="72000" rIns="72000" bIns="72000" rtlCol="0" anchor="ctr"/>
      <a:lstStyle>
        <a:defPPr algn="ctr">
          <a:defRPr sz="1600" dirty="0" smtClean="0">
            <a:solidFill>
              <a:schemeClr val="bg1"/>
            </a:solidFill>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spcAft>
            <a:spcPts val="600"/>
          </a:spcAft>
          <a:defRPr sz="1600" dirty="0" err="1" smtClean="0">
            <a:solidFill>
              <a:schemeClr val="tx2"/>
            </a:solidFill>
            <a:cs typeface="Arial" panose="020B0604020202020204" pitchFamily="34" charset="0"/>
          </a:defRPr>
        </a:defPPr>
      </a:lstStyle>
    </a:txDef>
  </a:objectDefaults>
  <a:extraClrSchemeLst/>
  <a:custClrLst>
    <a:custClr>
      <a:srgbClr val="F6F6F6"/>
    </a:custClr>
    <a:custClr>
      <a:srgbClr val="E3E3E3"/>
    </a:custClr>
    <a:custClr>
      <a:srgbClr val="A7A7A7"/>
    </a:custClr>
    <a:custClr>
      <a:srgbClr val="7B7B7B"/>
    </a:custClr>
    <a:custClr>
      <a:srgbClr val="494949"/>
    </a:custClr>
    <a:custClr>
      <a:srgbClr val="FFFFFF"/>
    </a:custClr>
    <a:custClr>
      <a:srgbClr val="E6003C"/>
    </a:custClr>
    <a:custClr>
      <a:srgbClr val="FF9B32"/>
    </a:custClr>
    <a:custClr>
      <a:srgbClr val="E6E100"/>
    </a:custClr>
  </a:custClrLst>
  <a:extLst>
    <a:ext uri="{05A4C25C-085E-4340-85A3-A5531E510DB2}">
      <thm15:themeFamily xmlns:thm15="http://schemas.microsoft.com/office/thememl/2012/main" name="master_buehler_1.potx" id="{147B47A7-4B24-453A-ACD9-33E345276798}" vid="{E02C42D3-A272-4FF1-BAB1-91E3CB1AF3DB}"/>
    </a:ext>
  </a:extLst>
</a:theme>
</file>

<file path=ppt/theme/theme2.xml><?xml version="1.0" encoding="utf-8"?>
<a:theme xmlns:a="http://schemas.openxmlformats.org/drawingml/2006/main" name="Larissa">
  <a:themeElements>
    <a:clrScheme name="Bühler">
      <a:dk1>
        <a:srgbClr val="00324B"/>
      </a:dk1>
      <a:lt1>
        <a:sysClr val="window" lastClr="FFFFFF"/>
      </a:lt1>
      <a:dk2>
        <a:srgbClr val="00324B"/>
      </a:dk2>
      <a:lt2>
        <a:srgbClr val="009B91"/>
      </a:lt2>
      <a:accent1>
        <a:srgbClr val="AAD2B4"/>
      </a:accent1>
      <a:accent2>
        <a:srgbClr val="64C3C8"/>
      </a:accent2>
      <a:accent3>
        <a:srgbClr val="005578"/>
      </a:accent3>
      <a:accent4>
        <a:srgbClr val="87C8F0"/>
      </a:accent4>
      <a:accent5>
        <a:srgbClr val="FF9B32"/>
      </a:accent5>
      <a:accent6>
        <a:srgbClr val="E6E100"/>
      </a:accent6>
      <a:hlink>
        <a:srgbClr val="009B91"/>
      </a:hlink>
      <a:folHlink>
        <a:srgbClr val="64C3C8"/>
      </a:folHlink>
    </a:clrScheme>
    <a:fontScheme name="Bühler">
      <a:majorFont>
        <a:latin typeface="Arial Nova Light"/>
        <a:ea typeface=""/>
        <a:cs typeface=""/>
      </a:majorFont>
      <a:minorFont>
        <a:latin typeface="Arial Nova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Bühler">
      <a:dk1>
        <a:srgbClr val="00324B"/>
      </a:dk1>
      <a:lt1>
        <a:sysClr val="window" lastClr="FFFFFF"/>
      </a:lt1>
      <a:dk2>
        <a:srgbClr val="00324B"/>
      </a:dk2>
      <a:lt2>
        <a:srgbClr val="009B91"/>
      </a:lt2>
      <a:accent1>
        <a:srgbClr val="AAD2B4"/>
      </a:accent1>
      <a:accent2>
        <a:srgbClr val="64C3C8"/>
      </a:accent2>
      <a:accent3>
        <a:srgbClr val="005578"/>
      </a:accent3>
      <a:accent4>
        <a:srgbClr val="87C8F0"/>
      </a:accent4>
      <a:accent5>
        <a:srgbClr val="FF9B32"/>
      </a:accent5>
      <a:accent6>
        <a:srgbClr val="E6E100"/>
      </a:accent6>
      <a:hlink>
        <a:srgbClr val="009B91"/>
      </a:hlink>
      <a:folHlink>
        <a:srgbClr val="64C3C8"/>
      </a:folHlink>
    </a:clrScheme>
    <a:fontScheme name="Bühler">
      <a:majorFont>
        <a:latin typeface="Arial Nova Light"/>
        <a:ea typeface=""/>
        <a:cs typeface=""/>
      </a:majorFont>
      <a:minorFont>
        <a:latin typeface="Arial Nova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B_Language xmlns="af9920eb-2d14-4472-8bba-ad30225ae900">EN</B_Language>
    <B_Doc_Classification xmlns="438c1c9f-cc77-4fb3-9c8e-acb07411be50">Commercial</B_Doc_Classification>
    <TaxKeywordTaxHTField xmlns="af9920eb-2d14-4472-8bba-ad30225ae900">
      <Terms xmlns="http://schemas.microsoft.com/office/infopath/2007/PartnerControls"/>
    </TaxKeywordTaxHTField>
    <TaxCatchAll xmlns="af9920eb-2d14-4472-8bba-ad30225ae900" xsi:nil="true"/>
    <k061faf1c7db4b90950b9cc6eda4cdd3 xmlns="af9920eb-2d14-4472-8bba-ad30225ae900">
      <Terms xmlns="http://schemas.microsoft.com/office/infopath/2007/PartnerControls"/>
    </k061faf1c7db4b90950b9cc6eda4cdd3>
    <nd0329a7d139476498b3fbab36f42831 xmlns="af9920eb-2d14-4472-8bba-ad30225ae900">
      <Terms xmlns="http://schemas.microsoft.com/office/infopath/2007/PartnerControls"/>
    </nd0329a7d139476498b3fbab36f42831>
    <j52faedc5f3547a9912483a9c2c110ad xmlns="af9920eb-2d14-4472-8bba-ad30225ae900">
      <Terms xmlns="http://schemas.microsoft.com/office/infopath/2007/PartnerControls"/>
    </j52faedc5f3547a9912483a9c2c110ad>
    <oc6a0dc9bbd44e3f88a27f1a5d274f02 xmlns="af9920eb-2d14-4472-8bba-ad30225ae900">
      <Terms xmlns="http://schemas.microsoft.com/office/infopath/2007/PartnerControls"/>
    </oc6a0dc9bbd44e3f88a27f1a5d274f02>
    <f25f315c07f9439fa4dd99a56a3d9aa8 xmlns="af9920eb-2d14-4472-8bba-ad30225ae900">
      <Terms xmlns="http://schemas.microsoft.com/office/infopath/2007/PartnerControls"/>
    </f25f315c07f9439fa4dd99a56a3d9aa8>
    <lcf76f155ced4ddcb4097134ff3c332f xmlns="f00b2160-1b8c-4fa7-acaf-3d767559e07b">
      <Terms xmlns="http://schemas.microsoft.com/office/infopath/2007/PartnerControls"/>
    </lcf76f155ced4ddcb4097134ff3c332f>
    <SharedWithUsers xmlns="af9920eb-2d14-4472-8bba-ad30225ae900">
      <UserInfo>
        <DisplayName>Wang James, MKT, BCOM</DisplayName>
        <AccountId>2726</AccountId>
        <AccountType/>
      </UserInfo>
      <UserInfo>
        <DisplayName>Zhang Jacky, GF, BCOM</DisplayName>
        <AccountId>495</AccountId>
        <AccountType/>
      </UserInfo>
      <UserInfo>
        <DisplayName>Fritschi Philipp, GFTECH, BCOM</DisplayName>
        <AccountId>18</AccountId>
        <AccountType/>
      </UserInfo>
      <UserInfo>
        <DisplayName>Zhu Arena, GFTIOV, BCOM</DisplayName>
        <AccountId>19</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B_Base" ma:contentTypeID="0x010100E1B4D8F5DE9419409FD49EBFB803B7C0009DC27EB83F968640A6E14102AFD64FA0" ma:contentTypeVersion="36" ma:contentTypeDescription="Create a new B_Base" ma:contentTypeScope="" ma:versionID="0db79b1be800eca69683eb6e4ef57ea6">
  <xsd:schema xmlns:xsd="http://www.w3.org/2001/XMLSchema" xmlns:xs="http://www.w3.org/2001/XMLSchema" xmlns:p="http://schemas.microsoft.com/office/2006/metadata/properties" xmlns:ns1="http://schemas.microsoft.com/sharepoint/v3" xmlns:ns2="af9920eb-2d14-4472-8bba-ad30225ae900" xmlns:ns3="438c1c9f-cc77-4fb3-9c8e-acb07411be50" xmlns:ns5="f00b2160-1b8c-4fa7-acaf-3d767559e07b" targetNamespace="http://schemas.microsoft.com/office/2006/metadata/properties" ma:root="true" ma:fieldsID="3455556f959c1515d5ea96d2aa471b99" ns1:_="" ns2:_="" ns3:_="" ns5:_="">
    <xsd:import namespace="http://schemas.microsoft.com/sharepoint/v3"/>
    <xsd:import namespace="af9920eb-2d14-4472-8bba-ad30225ae900"/>
    <xsd:import namespace="438c1c9f-cc77-4fb3-9c8e-acb07411be50"/>
    <xsd:import namespace="f00b2160-1b8c-4fa7-acaf-3d767559e07b"/>
    <xsd:element name="properties">
      <xsd:complexType>
        <xsd:sequence>
          <xsd:element name="documentManagement">
            <xsd:complexType>
              <xsd:all>
                <xsd:element ref="ns2:TaxCatchAll" minOccurs="0"/>
                <xsd:element ref="ns2:TaxCatchAllLabel" minOccurs="0"/>
                <xsd:element ref="ns2:B_Language" minOccurs="0"/>
                <xsd:element ref="ns3:B_Doc_Classification" minOccurs="0"/>
                <xsd:element ref="ns2:TaxKeywordTaxHTField" minOccurs="0"/>
                <xsd:element ref="ns2:k061faf1c7db4b90950b9cc6eda4cdd3" minOccurs="0"/>
                <xsd:element ref="ns2:f25f315c07f9439fa4dd99a56a3d9aa8" minOccurs="0"/>
                <xsd:element ref="ns2:nd0329a7d139476498b3fbab36f42831" minOccurs="0"/>
                <xsd:element ref="ns2:oc6a0dc9bbd44e3f88a27f1a5d274f02" minOccurs="0"/>
                <xsd:element ref="ns2:j52faedc5f3547a9912483a9c2c110ad" minOccurs="0"/>
                <xsd:element ref="ns5:MediaServiceMetadata" minOccurs="0"/>
                <xsd:element ref="ns5:MediaServiceFastMetadata" minOccurs="0"/>
                <xsd:element ref="ns5:MediaServiceDateTaken" minOccurs="0"/>
                <xsd:element ref="ns1:_ip_UnifiedCompliancePolicyProperties" minOccurs="0"/>
                <xsd:element ref="ns1:_ip_UnifiedCompliancePolicyUIAction" minOccurs="0"/>
                <xsd:element ref="ns2:SharedWithUsers" minOccurs="0"/>
                <xsd:element ref="ns2:SharedWithDetails" minOccurs="0"/>
                <xsd:element ref="ns5:MediaServiceAutoTags" minOccurs="0"/>
                <xsd:element ref="ns5:MediaServiceGenerationTime" minOccurs="0"/>
                <xsd:element ref="ns5:MediaServiceEventHashCode" minOccurs="0"/>
                <xsd:element ref="ns5:MediaServiceOCR" minOccurs="0"/>
                <xsd:element ref="ns5:MediaLengthInSeconds" minOccurs="0"/>
                <xsd:element ref="ns5:MediaServiceAutoKeyPoints" minOccurs="0"/>
                <xsd:element ref="ns5:MediaServiceKeyPoints" minOccurs="0"/>
                <xsd:element ref="ns5:MediaServiceLocation" minOccurs="0"/>
                <xsd:element ref="ns5: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7" nillable="true" ma:displayName="Unified Compliance Policy Properties" ma:hidden="true" ma:internalName="_ip_UnifiedCompliancePolicyProperties">
      <xsd:simpleType>
        <xsd:restriction base="dms:Note"/>
      </xsd:simpleType>
    </xsd:element>
    <xsd:element name="_ip_UnifiedCompliancePolicyUIAction" ma:index="2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9920eb-2d14-4472-8bba-ad30225ae900" elementFormDefault="qualified">
    <xsd:import namespace="http://schemas.microsoft.com/office/2006/documentManagement/types"/>
    <xsd:import namespace="http://schemas.microsoft.com/office/infopath/2007/PartnerControls"/>
    <xsd:element name="TaxCatchAll" ma:index="8" nillable="true" ma:displayName="Taxonomy Catch All Column" ma:description="" ma:hidden="true" ma:list="{920886a3-583e-478d-9183-09aab0d37ca5}" ma:internalName="TaxCatchAll" ma:showField="CatchAllData" ma:web="af9920eb-2d14-4472-8bba-ad30225ae900">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description="" ma:hidden="true" ma:list="{920886a3-583e-478d-9183-09aab0d37ca5}" ma:internalName="TaxCatchAllLabel" ma:readOnly="true" ma:showField="CatchAllDataLabel" ma:web="af9920eb-2d14-4472-8bba-ad30225ae900">
      <xsd:complexType>
        <xsd:complexContent>
          <xsd:extension base="dms:MultiChoiceLookup">
            <xsd:sequence>
              <xsd:element name="Value" type="dms:Lookup" maxOccurs="unbounded" minOccurs="0" nillable="true"/>
            </xsd:sequence>
          </xsd:extension>
        </xsd:complexContent>
      </xsd:complexType>
    </xsd:element>
    <xsd:element name="B_Language" ma:index="15" nillable="true" ma:displayName="Lang" ma:default="EN" ma:internalName="B_Language">
      <xsd:simpleType>
        <xsd:restriction base="dms:Choice">
          <xsd:enumeration value="CS"/>
          <xsd:enumeration value="DA"/>
          <xsd:enumeration value="DE"/>
          <xsd:enumeration value="EN"/>
          <xsd:enumeration value="ES"/>
          <xsd:enumeration value="FI"/>
          <xsd:enumeration value="FR"/>
          <xsd:enumeration value="IT"/>
          <xsd:enumeration value="JA"/>
          <xsd:enumeration value="KO"/>
          <xsd:enumeration value="NL"/>
          <xsd:enumeration value="NO"/>
          <xsd:enumeration value="PL"/>
          <xsd:enumeration value="PT"/>
          <xsd:enumeration value="RU"/>
          <xsd:enumeration value="SV"/>
          <xsd:enumeration value="ZH"/>
        </xsd:restriction>
      </xsd:simpleType>
    </xsd:element>
    <xsd:element name="TaxKeywordTaxHTField" ma:index="17" nillable="true" ma:taxonomy="true" ma:internalName="TaxKeywordTaxHTField" ma:taxonomyFieldName="TaxKeyword" ma:displayName="Keyword" ma:fieldId="{23f27201-bee3-471e-b2e7-b64fd8b7ca38}" ma:taxonomyMulti="true" ma:sspId="2357a364-65da-470a-9b5b-23a52125fdeb" ma:termSetId="00000000-0000-0000-0000-000000000000" ma:anchorId="00000000-0000-0000-0000-000000000000" ma:open="true" ma:isKeyword="true">
      <xsd:complexType>
        <xsd:sequence>
          <xsd:element ref="pc:Terms" minOccurs="0" maxOccurs="1"/>
        </xsd:sequence>
      </xsd:complexType>
    </xsd:element>
    <xsd:element name="k061faf1c7db4b90950b9cc6eda4cdd3" ma:index="19" nillable="true" ma:taxonomy="true" ma:internalName="k061faf1c7db4b90950b9cc6eda4cdd3" ma:taxonomyFieldName="B_Business_Process" ma:displayName="Business Process" ma:default="" ma:fieldId="{4061faf1-c7db-4b90-950b-9cc6eda4cdd3}" ma:taxonomyMulti="true" ma:sspId="2357a364-65da-470a-9b5b-23a52125fdeb" ma:termSetId="c1459c76-ec0e-48fe-8f49-9ab9b5ff513c" ma:anchorId="00000000-0000-0000-0000-000000000000" ma:open="false" ma:isKeyword="false">
      <xsd:complexType>
        <xsd:sequence>
          <xsd:element ref="pc:Terms" minOccurs="0" maxOccurs="1"/>
        </xsd:sequence>
      </xsd:complexType>
    </xsd:element>
    <xsd:element name="f25f315c07f9439fa4dd99a56a3d9aa8" ma:index="20" nillable="true" ma:taxonomy="true" ma:internalName="f25f315c07f9439fa4dd99a56a3d9aa8" ma:taxonomyFieldName="B_Doc_Type" ma:displayName="Document Type" ma:fieldId="{f25f315c-07f9-439f-a4dd-99a56a3d9aa8}" ma:sspId="2357a364-65da-470a-9b5b-23a52125fdeb" ma:termSetId="fb4ffb98-f7eb-4162-bc57-924a8fc617d7" ma:anchorId="00000000-0000-0000-0000-000000000000" ma:open="false" ma:isKeyword="false">
      <xsd:complexType>
        <xsd:sequence>
          <xsd:element ref="pc:Terms" minOccurs="0" maxOccurs="1"/>
        </xsd:sequence>
      </xsd:complexType>
    </xsd:element>
    <xsd:element name="nd0329a7d139476498b3fbab36f42831" ma:index="21" nillable="true" ma:taxonomy="true" ma:internalName="nd0329a7d139476498b3fbab36f42831" ma:taxonomyFieldName="B_SAS" ma:displayName="SAS" ma:default="" ma:fieldId="{7d0329a7-d139-4764-98b3-fbab36f42831}" ma:taxonomyMulti="true" ma:sspId="2357a364-65da-470a-9b5b-23a52125fdeb" ma:termSetId="dd90a035-0c44-4625-877b-ffb11c60cb30" ma:anchorId="00000000-0000-0000-0000-000000000000" ma:open="false" ma:isKeyword="false">
      <xsd:complexType>
        <xsd:sequence>
          <xsd:element ref="pc:Terms" minOccurs="0" maxOccurs="1"/>
        </xsd:sequence>
      </xsd:complexType>
    </xsd:element>
    <xsd:element name="oc6a0dc9bbd44e3f88a27f1a5d274f02" ma:index="22" nillable="true" ma:taxonomy="true" ma:internalName="oc6a0dc9bbd44e3f88a27f1a5d274f02" ma:taxonomyFieldName="B_Business" ma:displayName="Business" ma:default="" ma:fieldId="{8c6a0dc9-bbd4-4e3f-88a2-7f1a5d274f02}" ma:taxonomyMulti="true" ma:sspId="2357a364-65da-470a-9b5b-23a52125fdeb" ma:termSetId="37b8c747-4a3e-48a3-befe-dfbd37fbabfd" ma:anchorId="00000000-0000-0000-0000-000000000000" ma:open="false" ma:isKeyword="false">
      <xsd:complexType>
        <xsd:sequence>
          <xsd:element ref="pc:Terms" minOccurs="0" maxOccurs="1"/>
        </xsd:sequence>
      </xsd:complexType>
    </xsd:element>
    <xsd:element name="j52faedc5f3547a9912483a9c2c110ad" ma:index="23" nillable="true" ma:taxonomy="true" ma:internalName="j52faedc5f3547a9912483a9c2c110ad" ma:taxonomyFieldName="B_Expertise" ma:displayName="Expertise" ma:default="" ma:fieldId="{352faedc-5f35-47a9-9124-83a9c2c110ad}" ma:taxonomyMulti="true" ma:sspId="2357a364-65da-470a-9b5b-23a52125fdeb" ma:termSetId="9c3c2670-9076-4781-acc9-e9504db2ecf9" ma:anchorId="00000000-0000-0000-0000-000000000000" ma:open="false" ma:isKeyword="false">
      <xsd:complexType>
        <xsd:sequence>
          <xsd:element ref="pc:Terms" minOccurs="0" maxOccurs="1"/>
        </xsd:sequence>
      </xsd:complexType>
    </xsd:element>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38c1c9f-cc77-4fb3-9c8e-acb07411be50" elementFormDefault="qualified">
    <xsd:import namespace="http://schemas.microsoft.com/office/2006/documentManagement/types"/>
    <xsd:import namespace="http://schemas.microsoft.com/office/infopath/2007/PartnerControls"/>
    <xsd:element name="B_Doc_Classification" ma:index="16" nillable="true" ma:displayName="Doc Classification" ma:default="" ma:internalName="B_Doc_Classification">
      <xsd:simpleType>
        <xsd:restriction base="dms:Choice">
          <xsd:enumeration value=""/>
          <xsd:enumeration value="B0 Public"/>
          <xsd:enumeration value="B1 Business"/>
          <xsd:enumeration value="B2 Confidential"/>
          <xsd:enumeration value="B3 Secret"/>
        </xsd:restriction>
      </xsd:simpleType>
    </xsd:element>
  </xsd:schema>
  <xsd:schema xmlns:xsd="http://www.w3.org/2001/XMLSchema" xmlns:xs="http://www.w3.org/2001/XMLSchema" xmlns:dms="http://schemas.microsoft.com/office/2006/documentManagement/types" xmlns:pc="http://schemas.microsoft.com/office/infopath/2007/PartnerControls" targetNamespace="f00b2160-1b8c-4fa7-acaf-3d767559e07b" elementFormDefault="qualified">
    <xsd:import namespace="http://schemas.microsoft.com/office/2006/documentManagement/types"/>
    <xsd:import namespace="http://schemas.microsoft.com/office/infopath/2007/PartnerControls"/>
    <xsd:element name="MediaServiceMetadata" ma:index="24" nillable="true" ma:displayName="MediaServiceMetadata" ma:hidden="true" ma:internalName="MediaServiceMetadata" ma:readOnly="true">
      <xsd:simpleType>
        <xsd:restriction base="dms:Note"/>
      </xsd:simpleType>
    </xsd:element>
    <xsd:element name="MediaServiceFastMetadata" ma:index="25" nillable="true" ma:displayName="MediaServiceFastMetadata" ma:hidden="true" ma:internalName="MediaServiceFastMetadata" ma:readOnly="true">
      <xsd:simpleType>
        <xsd:restriction base="dms:Note"/>
      </xsd:simpleType>
    </xsd:element>
    <xsd:element name="MediaServiceDateTaken" ma:index="26" nillable="true" ma:displayName="MediaServiceDateTaken" ma:hidden="true" ma:internalName="MediaServiceDateTaken" ma:readOnly="true">
      <xsd:simpleType>
        <xsd:restriction base="dms:Text"/>
      </xsd:simpleType>
    </xsd:element>
    <xsd:element name="MediaServiceAutoTags" ma:index="31" nillable="true" ma:displayName="Tags" ma:internalName="MediaServiceAutoTags" ma:readOnly="true">
      <xsd:simpleType>
        <xsd:restriction base="dms:Text"/>
      </xsd:simpleType>
    </xsd:element>
    <xsd:element name="MediaServiceGenerationTime" ma:index="32" nillable="true" ma:displayName="MediaServiceGenerationTime" ma:hidden="true" ma:internalName="MediaServiceGenerationTime" ma:readOnly="true">
      <xsd:simpleType>
        <xsd:restriction base="dms:Text"/>
      </xsd:simpleType>
    </xsd:element>
    <xsd:element name="MediaServiceEventHashCode" ma:index="33" nillable="true" ma:displayName="MediaServiceEventHashCode" ma:hidden="true" ma:internalName="MediaServiceEventHashCode" ma:readOnly="true">
      <xsd:simpleType>
        <xsd:restriction base="dms:Text"/>
      </xsd:simpleType>
    </xsd:element>
    <xsd:element name="MediaServiceOCR" ma:index="34" nillable="true" ma:displayName="Extracted Text" ma:internalName="MediaServiceOCR" ma:readOnly="true">
      <xsd:simpleType>
        <xsd:restriction base="dms:Note">
          <xsd:maxLength value="255"/>
        </xsd:restriction>
      </xsd:simpleType>
    </xsd:element>
    <xsd:element name="MediaLengthInSeconds" ma:index="35" nillable="true" ma:displayName="Length (seconds)" ma:internalName="MediaLengthInSeconds" ma:readOnly="true">
      <xsd:simpleType>
        <xsd:restriction base="dms:Unknown"/>
      </xsd:simpleType>
    </xsd:element>
    <xsd:element name="MediaServiceAutoKeyPoints" ma:index="36" nillable="true" ma:displayName="MediaServiceAutoKeyPoints" ma:hidden="true" ma:internalName="MediaServiceAutoKeyPoints" ma:readOnly="true">
      <xsd:simpleType>
        <xsd:restriction base="dms:Note"/>
      </xsd:simpleType>
    </xsd:element>
    <xsd:element name="MediaServiceKeyPoints" ma:index="37" nillable="true" ma:displayName="KeyPoints" ma:internalName="MediaServiceKeyPoints" ma:readOnly="true">
      <xsd:simpleType>
        <xsd:restriction base="dms:Note">
          <xsd:maxLength value="255"/>
        </xsd:restriction>
      </xsd:simpleType>
    </xsd:element>
    <xsd:element name="MediaServiceLocation" ma:index="38" nillable="true" ma:displayName="Location" ma:internalName="MediaServiceLocation" ma:readOnly="true">
      <xsd:simpleType>
        <xsd:restriction base="dms:Text"/>
      </xsd:simpleType>
    </xsd:element>
    <xsd:element name="lcf76f155ced4ddcb4097134ff3c332f" ma:index="40" nillable="true" ma:taxonomy="true" ma:internalName="lcf76f155ced4ddcb4097134ff3c332f" ma:taxonomyFieldName="MediaServiceImageTags" ma:displayName="Image Tags" ma:readOnly="false" ma:fieldId="{5cf76f15-5ced-4ddc-b409-7134ff3c332f}" ma:taxonomyMulti="true" ma:sspId="2357a364-65da-470a-9b5b-23a52125fdeb"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079C948-3DE1-4CD2-8D4D-A32F9C80B34E}">
  <ds:schemaRefs>
    <ds:schemaRef ds:uri="http://schemas.microsoft.com/sharepoint/v3/contenttype/forms"/>
  </ds:schemaRefs>
</ds:datastoreItem>
</file>

<file path=customXml/itemProps2.xml><?xml version="1.0" encoding="utf-8"?>
<ds:datastoreItem xmlns:ds="http://schemas.openxmlformats.org/officeDocument/2006/customXml" ds:itemID="{8C22EDAA-F854-4D56-A176-473ED19A7986}">
  <ds:schemaRefs>
    <ds:schemaRef ds:uri="15657174-b275-4df9-8273-b6354f804d01"/>
    <ds:schemaRef ds:uri="438c1c9f-cc77-4fb3-9c8e-acb07411be50"/>
    <ds:schemaRef ds:uri="64dd9a5f-66b7-4d20-bfd2-56fadcf312d7"/>
    <ds:schemaRef ds:uri="722c5e09-f135-41bf-9374-4de32efeccd6"/>
    <ds:schemaRef ds:uri="af9920eb-2d14-4472-8bba-ad30225ae900"/>
    <ds:schemaRef ds:uri="f00b2160-1b8c-4fa7-acaf-3d767559e07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82CC292-8A47-4E41-9CE1-A8EC3D4C5E94}">
  <ds:schemaRefs>
    <ds:schemaRef ds:uri="438c1c9f-cc77-4fb3-9c8e-acb07411be50"/>
    <ds:schemaRef ds:uri="af9920eb-2d14-4472-8bba-ad30225ae900"/>
    <ds:schemaRef ds:uri="f00b2160-1b8c-4fa7-acaf-3d767559e07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851</Words>
  <Application>Microsoft Office PowerPoint</Application>
  <PresentationFormat>自定义</PresentationFormat>
  <Paragraphs>211</Paragraphs>
  <Slides>11</Slides>
  <Notes>6</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11</vt:i4>
      </vt:variant>
    </vt:vector>
  </HeadingPairs>
  <TitlesOfParts>
    <vt:vector size="18" baseType="lpstr">
      <vt:lpstr>Neue Helvetica W01</vt:lpstr>
      <vt:lpstr>阿里巴巴普惠体 M</vt:lpstr>
      <vt:lpstr>Arial</vt:lpstr>
      <vt:lpstr>Arial Nova Light</vt:lpstr>
      <vt:lpstr>Symbol</vt:lpstr>
      <vt:lpstr>Bühler</vt:lpstr>
      <vt:lpstr>think-cell Slide</vt:lpstr>
      <vt:lpstr>Rice Flour Dry Milling Introduction</vt:lpstr>
      <vt:lpstr>Every Day, Billions of People Come into Contact with Bühler.</vt:lpstr>
      <vt:lpstr>Our Business Strong Position in our Industries</vt:lpstr>
      <vt:lpstr>PowerPoint 演示文稿</vt:lpstr>
      <vt:lpstr>Rice Flour Dry Milling Solution  Balancing the needs of Nutrition, Natural and Economy</vt:lpstr>
      <vt:lpstr>Rice Flour Dry Milling Solution Overview</vt:lpstr>
      <vt:lpstr>Multi- Application of Rice Flour Flexible to meet different Customer Requirements</vt:lpstr>
      <vt:lpstr>PowerPoint 演示文稿</vt:lpstr>
      <vt:lpstr>The Reliable Equipment are the Foundation Enable Stable/ Reliable/ Food Safety/ Global Available </vt:lpstr>
      <vt:lpstr>Imagineering the Future</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hler Rice FLour Dry Milling Solution</dc:title>
  <dc:subject/>
  <dc:creator>Buhler GF-Food</dc:creator>
  <cp:lastModifiedBy>Zhu Arena, GFTIOV, BCOM</cp:lastModifiedBy>
  <cp:revision>1</cp:revision>
  <cp:lastPrinted>2016-06-16T10:44:31Z</cp:lastPrinted>
  <dcterms:created xsi:type="dcterms:W3CDTF">2022-06-28T08:03:48Z</dcterms:created>
  <dcterms:modified xsi:type="dcterms:W3CDTF">2023-06-16T03:3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w_theme">
    <vt:lpwstr/>
  </property>
  <property fmtid="{D5CDD505-2E9C-101B-9397-08002B2CF9AE}" pid="3" name="tw_company">
    <vt:lpwstr/>
  </property>
  <property fmtid="{D5CDD505-2E9C-101B-9397-08002B2CF9AE}" pid="4" name="tw_unit">
    <vt:lpwstr/>
  </property>
  <property fmtid="{D5CDD505-2E9C-101B-9397-08002B2CF9AE}" pid="5" name="tw_function">
    <vt:lpwstr/>
  </property>
  <property fmtid="{D5CDD505-2E9C-101B-9397-08002B2CF9AE}" pid="6" name="tw_location">
    <vt:lpwstr/>
  </property>
  <property fmtid="{D5CDD505-2E9C-101B-9397-08002B2CF9AE}" pid="7" name="tw_date">
    <vt:lpwstr/>
  </property>
  <property fmtid="{D5CDD505-2E9C-101B-9397-08002B2CF9AE}" pid="8" name="ContentTypeId">
    <vt:lpwstr>0x010100E1B4D8F5DE9419409FD49EBFB803B7C0009DC27EB83F968640A6E14102AFD64FA0</vt:lpwstr>
  </property>
  <property fmtid="{D5CDD505-2E9C-101B-9397-08002B2CF9AE}" pid="9" name="TaxKeyword">
    <vt:lpwstr/>
  </property>
  <property fmtid="{D5CDD505-2E9C-101B-9397-08002B2CF9AE}" pid="10" name="B_Expertise">
    <vt:lpwstr/>
  </property>
  <property fmtid="{D5CDD505-2E9C-101B-9397-08002B2CF9AE}" pid="11" name="B_Doc_Type">
    <vt:lpwstr/>
  </property>
  <property fmtid="{D5CDD505-2E9C-101B-9397-08002B2CF9AE}" pid="12" name="B_Business_Process">
    <vt:lpwstr/>
  </property>
  <property fmtid="{D5CDD505-2E9C-101B-9397-08002B2CF9AE}" pid="13" name="B_Business">
    <vt:lpwstr/>
  </property>
  <property fmtid="{D5CDD505-2E9C-101B-9397-08002B2CF9AE}" pid="14" name="B_SAS">
    <vt:lpwstr/>
  </property>
  <property fmtid="{D5CDD505-2E9C-101B-9397-08002B2CF9AE}" pid="15" name="tw_speaker">
    <vt:lpwstr>Buhler GF-Food</vt:lpwstr>
  </property>
  <property fmtid="{D5CDD505-2E9C-101B-9397-08002B2CF9AE}" pid="16" name="tw_title">
    <vt:lpwstr>Buhler Rice FLour Dry Milling Solution</vt:lpwstr>
  </property>
  <property fmtid="{D5CDD505-2E9C-101B-9397-08002B2CF9AE}" pid="17" name="tw_Confidential">
    <vt:lpwstr>1</vt:lpwstr>
  </property>
  <property fmtid="{D5CDD505-2E9C-101B-9397-08002B2CF9AE}" pid="18" name="MediaServiceImageTags">
    <vt:lpwstr/>
  </property>
</Properties>
</file>